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3.xml" ContentType="application/vnd.openxmlformats-officedocument.theme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4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80" r:id="rId1"/>
    <p:sldMasterId id="2147484048" r:id="rId2"/>
    <p:sldMasterId id="2147484131" r:id="rId3"/>
    <p:sldMasterId id="2147484339" r:id="rId4"/>
    <p:sldMasterId id="2147484349" r:id="rId5"/>
  </p:sldMasterIdLst>
  <p:notesMasterIdLst>
    <p:notesMasterId r:id="rId10"/>
  </p:notesMasterIdLst>
  <p:handoutMasterIdLst>
    <p:handoutMasterId r:id="rId11"/>
  </p:handoutMasterIdLst>
  <p:sldIdLst>
    <p:sldId id="1823" r:id="rId6"/>
    <p:sldId id="1825" r:id="rId7"/>
    <p:sldId id="1827" r:id="rId8"/>
    <p:sldId id="1828" r:id="rId9"/>
  </p:sldIdLst>
  <p:sldSz cx="12190413" cy="6858000"/>
  <p:notesSz cx="6797675" cy="9926638"/>
  <p:custDataLst>
    <p:tags r:id="rId12"/>
  </p:custDataLst>
  <p:defaultTextStyle>
    <a:defPPr>
      <a:defRPr lang="en-US"/>
    </a:defPPr>
    <a:lvl1pPr algn="l" rtl="0" fontAlgn="base">
      <a:lnSpc>
        <a:spcPct val="90000"/>
      </a:lnSpc>
      <a:spcBef>
        <a:spcPct val="0"/>
      </a:spcBef>
      <a:spcAft>
        <a:spcPct val="0"/>
      </a:spcAft>
      <a:buFont typeface="Wingdings" pitchFamily="2" charset="2"/>
      <a:defRPr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154" algn="l" rtl="0" fontAlgn="base">
      <a:lnSpc>
        <a:spcPct val="90000"/>
      </a:lnSpc>
      <a:spcBef>
        <a:spcPct val="0"/>
      </a:spcBef>
      <a:spcAft>
        <a:spcPct val="0"/>
      </a:spcAft>
      <a:buFont typeface="Wingdings" pitchFamily="2" charset="2"/>
      <a:defRPr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309" algn="l" rtl="0" fontAlgn="base">
      <a:lnSpc>
        <a:spcPct val="90000"/>
      </a:lnSpc>
      <a:spcBef>
        <a:spcPct val="0"/>
      </a:spcBef>
      <a:spcAft>
        <a:spcPct val="0"/>
      </a:spcAft>
      <a:buFont typeface="Wingdings" pitchFamily="2" charset="2"/>
      <a:defRPr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463" algn="l" rtl="0" fontAlgn="base">
      <a:lnSpc>
        <a:spcPct val="90000"/>
      </a:lnSpc>
      <a:spcBef>
        <a:spcPct val="0"/>
      </a:spcBef>
      <a:spcAft>
        <a:spcPct val="0"/>
      </a:spcAft>
      <a:buFont typeface="Wingdings" pitchFamily="2" charset="2"/>
      <a:defRPr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617" algn="l" rtl="0" fontAlgn="base">
      <a:lnSpc>
        <a:spcPct val="90000"/>
      </a:lnSpc>
      <a:spcBef>
        <a:spcPct val="0"/>
      </a:spcBef>
      <a:spcAft>
        <a:spcPct val="0"/>
      </a:spcAft>
      <a:buFont typeface="Wingdings" pitchFamily="2" charset="2"/>
      <a:defRPr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5771" algn="l" defTabSz="914309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6pPr>
    <a:lvl7pPr marL="2742926" algn="l" defTabSz="914309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7pPr>
    <a:lvl8pPr marL="3200080" algn="l" defTabSz="914309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8pPr>
    <a:lvl9pPr marL="3657234" algn="l" defTabSz="914309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07" userDrawn="1">
          <p15:clr>
            <a:srgbClr val="A4A3A4"/>
          </p15:clr>
        </p15:guide>
        <p15:guide id="2" orient="horz" pos="179">
          <p15:clr>
            <a:srgbClr val="A4A3A4"/>
          </p15:clr>
        </p15:guide>
        <p15:guide id="3" orient="horz" pos="432">
          <p15:clr>
            <a:srgbClr val="A4A3A4"/>
          </p15:clr>
        </p15:guide>
        <p15:guide id="4" orient="horz" pos="4065" userDrawn="1">
          <p15:clr>
            <a:srgbClr val="A4A3A4"/>
          </p15:clr>
        </p15:guide>
        <p15:guide id="5" pos="3612">
          <p15:clr>
            <a:srgbClr val="A4A3A4"/>
          </p15:clr>
        </p15:guide>
        <p15:guide id="6" pos="311">
          <p15:clr>
            <a:srgbClr val="A4A3A4"/>
          </p15:clr>
        </p15:guide>
        <p15:guide id="7" pos="536">
          <p15:clr>
            <a:srgbClr val="A4A3A4"/>
          </p15:clr>
        </p15:guide>
        <p15:guide id="8" pos="7568">
          <p15:clr>
            <a:srgbClr val="A4A3A4"/>
          </p15:clr>
        </p15:guide>
        <p15:guide id="9" pos="7084">
          <p15:clr>
            <a:srgbClr val="A4A3A4"/>
          </p15:clr>
        </p15:guide>
        <p15:guide id="11" orient="horz" pos="1661" userDrawn="1">
          <p15:clr>
            <a:srgbClr val="A4A3A4"/>
          </p15:clr>
        </p15:guide>
        <p15:guide id="12" orient="horz" pos="222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risty.click" initials="k" lastIdx="2" clrIdx="0"/>
  <p:cmAuthor id="1" name="Kexin Li" initials="KL" lastIdx="1" clrIdx="1"/>
  <p:cmAuthor id="2" name="Ying zhou" initials="Yz" lastIdx="6" clrIdx="2">
    <p:extLst>
      <p:ext uri="{19B8F6BF-5375-455C-9EA6-DF929625EA0E}">
        <p15:presenceInfo xmlns:p15="http://schemas.microsoft.com/office/powerpoint/2012/main" userId="S-1-5-21-3343930222-3471731563-1258133589-30918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B365D"/>
    <a:srgbClr val="C3D4ED"/>
    <a:srgbClr val="86A9DC"/>
    <a:srgbClr val="B55813"/>
    <a:srgbClr val="F9E5B6"/>
    <a:srgbClr val="FF3399"/>
    <a:srgbClr val="281051"/>
    <a:srgbClr val="FFFFFF"/>
    <a:srgbClr val="4A7ECA"/>
    <a:srgbClr val="CCF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CF1AB2-1976-4502-BF36-3FF5EA218861}" styleName="中度样式 4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775DCB02-9BB8-47FD-8907-85C794F793BA}" styleName="主题样式 1 - 强调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5DA37D80-6434-44D0-A028-1B22A696006F}" styleName="浅色样式 3 - 强调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DF18680-E054-41AD-8BC1-D1AEF772440D}" styleName="中度样式 2 - 强调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中度样式 2 - 强调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A111915-BE36-4E01-A7E5-04B1672EAD32}" styleName="浅色样式 2 - 强调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4C1A8A3-306A-4EB7-A6B1-4F7E0EB9C5D6}" styleName="中度样式 3 - 强调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ABFCF23-3B69-468F-B69F-88F6DE6A72F2}" styleName="中度样式 1 - 强调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588" autoAdjust="0"/>
    <p:restoredTop sz="94266" autoAdjust="0"/>
  </p:normalViewPr>
  <p:slideViewPr>
    <p:cSldViewPr>
      <p:cViewPr varScale="1">
        <p:scale>
          <a:sx n="64" d="100"/>
          <a:sy n="64" d="100"/>
        </p:scale>
        <p:origin x="101" y="418"/>
      </p:cViewPr>
      <p:guideLst>
        <p:guide orient="horz" pos="1207"/>
        <p:guide orient="horz" pos="179"/>
        <p:guide orient="horz" pos="432"/>
        <p:guide orient="horz" pos="4065"/>
        <p:guide pos="3612"/>
        <p:guide pos="311"/>
        <p:guide pos="536"/>
        <p:guide pos="7568"/>
        <p:guide pos="7084"/>
        <p:guide orient="horz" pos="1661"/>
        <p:guide orient="horz" pos="2228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>
        <p:scale>
          <a:sx n="100" d="100"/>
          <a:sy n="100" d="100"/>
        </p:scale>
        <p:origin x="-2592" y="504"/>
      </p:cViewPr>
      <p:guideLst>
        <p:guide orient="horz" pos="3127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5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98858206531878E-3"/>
          <c:y val="7.8962212405483997E-2"/>
          <c:w val="0.97203345383321704"/>
          <c:h val="0.68126468300581"/>
        </c:manualLayout>
      </c:layout>
      <c:barChart>
        <c:barDir val="col"/>
        <c:grouping val="clustered"/>
        <c:varyColors val="0"/>
        <c:ser>
          <c:idx val="4"/>
          <c:order val="0"/>
          <c:tx>
            <c:strRef>
              <c:f>Sheet1!$B$1</c:f>
              <c:strCache>
                <c:ptCount val="1"/>
                <c:pt idx="0">
                  <c:v>Total 
aided</c:v>
                </c:pt>
              </c:strCache>
            </c:strRef>
          </c:tx>
          <c:spPr>
            <a:solidFill>
              <a:srgbClr val="F9E5B6"/>
            </a:solidFill>
            <a:ln w="30798"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latin typeface="Calibri" panose="020F0502020204030204" pitchFamily="34" charset="0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26</c:f>
              <c:strCache>
                <c:ptCount val="19"/>
                <c:pt idx="0">
                  <c:v>W1</c:v>
                </c:pt>
                <c:pt idx="1">
                  <c:v>W2</c:v>
                </c:pt>
                <c:pt idx="2">
                  <c:v>w3</c:v>
                </c:pt>
                <c:pt idx="4">
                  <c:v>W1</c:v>
                </c:pt>
                <c:pt idx="5">
                  <c:v>W2</c:v>
                </c:pt>
                <c:pt idx="6">
                  <c:v>w3</c:v>
                </c:pt>
                <c:pt idx="8">
                  <c:v>W1</c:v>
                </c:pt>
                <c:pt idx="9">
                  <c:v>W2</c:v>
                </c:pt>
                <c:pt idx="10">
                  <c:v>w3</c:v>
                </c:pt>
                <c:pt idx="12">
                  <c:v>W1</c:v>
                </c:pt>
                <c:pt idx="13">
                  <c:v>W2</c:v>
                </c:pt>
                <c:pt idx="14">
                  <c:v>w3</c:v>
                </c:pt>
                <c:pt idx="16">
                  <c:v>W1</c:v>
                </c:pt>
                <c:pt idx="17">
                  <c:v>W2</c:v>
                </c:pt>
                <c:pt idx="18">
                  <c:v>w3</c:v>
                </c:pt>
              </c:strCache>
            </c:strRef>
          </c:cat>
          <c:val>
            <c:numRef>
              <c:f>Sheet1!$B$2:$B$26</c:f>
              <c:numCache>
                <c:formatCode>General</c:formatCode>
                <c:ptCount val="19"/>
                <c:pt idx="0">
                  <c:v>71</c:v>
                </c:pt>
                <c:pt idx="1">
                  <c:v>75</c:v>
                </c:pt>
                <c:pt idx="2">
                  <c:v>77</c:v>
                </c:pt>
                <c:pt idx="4">
                  <c:v>74</c:v>
                </c:pt>
                <c:pt idx="5">
                  <c:v>73</c:v>
                </c:pt>
                <c:pt idx="6">
                  <c:v>77</c:v>
                </c:pt>
                <c:pt idx="8">
                  <c:v>67</c:v>
                </c:pt>
                <c:pt idx="9">
                  <c:v>65</c:v>
                </c:pt>
                <c:pt idx="10">
                  <c:v>71</c:v>
                </c:pt>
                <c:pt idx="12">
                  <c:v>65</c:v>
                </c:pt>
                <c:pt idx="13">
                  <c:v>62</c:v>
                </c:pt>
                <c:pt idx="14">
                  <c:v>68</c:v>
                </c:pt>
                <c:pt idx="16">
                  <c:v>62</c:v>
                </c:pt>
                <c:pt idx="17">
                  <c:v>58</c:v>
                </c:pt>
                <c:pt idx="18">
                  <c:v>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03F-4E49-A521-E92E086B20F9}"/>
            </c:ext>
          </c:extLst>
        </c:ser>
        <c:ser>
          <c:idx val="0"/>
          <c:order val="1"/>
          <c:tx>
            <c:strRef>
              <c:f>Sheet1!$C$1</c:f>
              <c:strCache>
                <c:ptCount val="1"/>
                <c:pt idx="0">
                  <c:v>Total 
unaided</c:v>
                </c:pt>
              </c:strCache>
            </c:strRef>
          </c:tx>
          <c:spPr>
            <a:solidFill>
              <a:srgbClr val="F1BE48"/>
            </a:solidFill>
            <a:ln w="30798">
              <a:solidFill>
                <a:schemeClr val="bg1"/>
              </a:solidFill>
            </a:ln>
          </c:spPr>
          <c:invertIfNegative val="0"/>
          <c:dLbls>
            <c:dLbl>
              <c:idx val="18"/>
              <c:layout>
                <c:manualLayout>
                  <c:x val="0"/>
                  <c:y val="-2.361260367813573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9CB-4BA4-8F2E-BDC5C900EAB1}"/>
                </c:ext>
              </c:extLst>
            </c:dLbl>
            <c:dLbl>
              <c:idx val="22"/>
              <c:layout>
                <c:manualLayout>
                  <c:x val="0"/>
                  <c:y val="-1.647776167123430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9CB-4BA4-8F2E-BDC5C900EA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latin typeface="Calibri" panose="020F0502020204030204" pitchFamily="34" charset="0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6</c:f>
              <c:strCache>
                <c:ptCount val="19"/>
                <c:pt idx="0">
                  <c:v>W1</c:v>
                </c:pt>
                <c:pt idx="1">
                  <c:v>W2</c:v>
                </c:pt>
                <c:pt idx="2">
                  <c:v>w3</c:v>
                </c:pt>
                <c:pt idx="4">
                  <c:v>W1</c:v>
                </c:pt>
                <c:pt idx="5">
                  <c:v>W2</c:v>
                </c:pt>
                <c:pt idx="6">
                  <c:v>w3</c:v>
                </c:pt>
                <c:pt idx="8">
                  <c:v>W1</c:v>
                </c:pt>
                <c:pt idx="9">
                  <c:v>W2</c:v>
                </c:pt>
                <c:pt idx="10">
                  <c:v>w3</c:v>
                </c:pt>
                <c:pt idx="12">
                  <c:v>W1</c:v>
                </c:pt>
                <c:pt idx="13">
                  <c:v>W2</c:v>
                </c:pt>
                <c:pt idx="14">
                  <c:v>w3</c:v>
                </c:pt>
                <c:pt idx="16">
                  <c:v>W1</c:v>
                </c:pt>
                <c:pt idx="17">
                  <c:v>W2</c:v>
                </c:pt>
                <c:pt idx="18">
                  <c:v>w3</c:v>
                </c:pt>
              </c:strCache>
            </c:strRef>
          </c:cat>
          <c:val>
            <c:numRef>
              <c:f>Sheet1!$C$2:$C$26</c:f>
              <c:numCache>
                <c:formatCode>General</c:formatCode>
                <c:ptCount val="19"/>
                <c:pt idx="0">
                  <c:v>2</c:v>
                </c:pt>
                <c:pt idx="1">
                  <c:v>4</c:v>
                </c:pt>
                <c:pt idx="2">
                  <c:v>2</c:v>
                </c:pt>
                <c:pt idx="4">
                  <c:v>9</c:v>
                </c:pt>
                <c:pt idx="5">
                  <c:v>6</c:v>
                </c:pt>
                <c:pt idx="6">
                  <c:v>7</c:v>
                </c:pt>
                <c:pt idx="8">
                  <c:v>22</c:v>
                </c:pt>
                <c:pt idx="9">
                  <c:v>20</c:v>
                </c:pt>
                <c:pt idx="10">
                  <c:v>24</c:v>
                </c:pt>
                <c:pt idx="12">
                  <c:v>8</c:v>
                </c:pt>
                <c:pt idx="13">
                  <c:v>4</c:v>
                </c:pt>
                <c:pt idx="14">
                  <c:v>6</c:v>
                </c:pt>
                <c:pt idx="16">
                  <c:v>5</c:v>
                </c:pt>
                <c:pt idx="17">
                  <c:v>7</c:v>
                </c:pt>
                <c:pt idx="18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03F-4E49-A521-E92E086B20F9}"/>
            </c:ext>
          </c:extLst>
        </c:ser>
        <c:ser>
          <c:idx val="9"/>
          <c:order val="2"/>
          <c:tx>
            <c:strRef>
              <c:f>Sheet1!$D$1</c:f>
              <c:strCache>
                <c:ptCount val="1"/>
                <c:pt idx="0">
                  <c:v>TOMA</c:v>
                </c:pt>
              </c:strCache>
            </c:strRef>
          </c:tx>
          <c:spPr>
            <a:solidFill>
              <a:srgbClr val="B55813"/>
            </a:solidFill>
            <a:ln w="30798">
              <a:solidFill>
                <a:schemeClr val="bg1"/>
              </a:solidFill>
            </a:ln>
          </c:spPr>
          <c:invertIfNegative val="0"/>
          <c:dLbls>
            <c:dLbl>
              <c:idx val="9"/>
              <c:layout>
                <c:manualLayout>
                  <c:x val="1.06843134508355E-3"/>
                  <c:y val="1.647776167123430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9CB-4BA4-8F2E-BDC5C900EAB1}"/>
                </c:ext>
              </c:extLst>
            </c:dLbl>
            <c:dLbl>
              <c:idx val="15"/>
              <c:layout>
                <c:manualLayout>
                  <c:x val="-7.8350726858511499E-17"/>
                  <c:y val="1.6477761671234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03F-4E49-A521-E92E086B20F9}"/>
                </c:ext>
              </c:extLst>
            </c:dLbl>
            <c:dLbl>
              <c:idx val="16"/>
              <c:layout>
                <c:manualLayout>
                  <c:x val="1.06843134508355E-3"/>
                  <c:y val="1.647776167123430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DA5-4D95-AAEB-2A68844D744B}"/>
                </c:ext>
              </c:extLst>
            </c:dLbl>
            <c:dLbl>
              <c:idx val="18"/>
              <c:layout>
                <c:manualLayout>
                  <c:x val="-1.06843134508355E-3"/>
                  <c:y val="2.059720208904279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BD88-4D12-82CC-D83DC639808E}"/>
                </c:ext>
              </c:extLst>
            </c:dLbl>
            <c:dLbl>
              <c:idx val="19"/>
              <c:layout>
                <c:manualLayout>
                  <c:x val="0"/>
                  <c:y val="1.647776167123430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DA5-4D95-AAEB-2A68844D744B}"/>
                </c:ext>
              </c:extLst>
            </c:dLbl>
            <c:dLbl>
              <c:idx val="21"/>
              <c:layout>
                <c:manualLayout>
                  <c:x val="-7.8350726858511499E-17"/>
                  <c:y val="2.4716642506851402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BD88-4D12-82CC-D83DC639808E}"/>
                </c:ext>
              </c:extLst>
            </c:dLbl>
            <c:dLbl>
              <c:idx val="22"/>
              <c:layout>
                <c:manualLayout>
                  <c:x val="0"/>
                  <c:y val="4.1194404178085701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8E0-4FF9-992C-F5132B8FE7DD}"/>
                </c:ext>
              </c:extLst>
            </c:dLbl>
            <c:dLbl>
              <c:idx val="24"/>
              <c:layout>
                <c:manualLayout>
                  <c:x val="-1.06843134508355E-3"/>
                  <c:y val="3.707496376027710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BD88-4D12-82CC-D83DC639808E}"/>
                </c:ext>
              </c:extLst>
            </c:dLbl>
            <c:dLbl>
              <c:idx val="25"/>
              <c:layout>
                <c:manualLayout>
                  <c:x val="-1.0684313450833999E-3"/>
                  <c:y val="1.647776167123430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BD88-4D12-82CC-D83DC639808E}"/>
                </c:ext>
              </c:extLst>
            </c:dLbl>
            <c:dLbl>
              <c:idx val="27"/>
              <c:layout>
                <c:manualLayout>
                  <c:x val="0"/>
                  <c:y val="1.647776167123430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BD88-4D12-82CC-D83DC639808E}"/>
                </c:ext>
              </c:extLst>
            </c:dLbl>
            <c:dLbl>
              <c:idx val="28"/>
              <c:layout>
                <c:manualLayout>
                  <c:x val="1.06843134508355E-3"/>
                  <c:y val="2.471664250685130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BD88-4D12-82CC-D83DC639808E}"/>
                </c:ext>
              </c:extLst>
            </c:dLbl>
            <c:dLbl>
              <c:idx val="30"/>
              <c:layout>
                <c:manualLayout>
                  <c:x val="-1.56701453717023E-16"/>
                  <c:y val="3.707496376027710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8E0-4FF9-992C-F5132B8FE7DD}"/>
                </c:ext>
              </c:extLst>
            </c:dLbl>
            <c:dLbl>
              <c:idx val="31"/>
              <c:layout>
                <c:manualLayout>
                  <c:x val="1.06843134508355E-3"/>
                  <c:y val="3.707496376027710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8E0-4FF9-992C-F5132B8FE7DD}"/>
                </c:ext>
              </c:extLst>
            </c:dLbl>
            <c:dLbl>
              <c:idx val="32"/>
              <c:layout>
                <c:manualLayout>
                  <c:x val="0"/>
                  <c:y val="1.153030093480160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F55-4F26-ADC1-B3DB9E413EDF}"/>
                </c:ext>
              </c:extLst>
            </c:dLbl>
            <c:dLbl>
              <c:idx val="33"/>
              <c:layout>
                <c:manualLayout>
                  <c:x val="1.0573091532002667E-3"/>
                  <c:y val="1.921716822466957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F55-4F26-ADC1-B3DB9E413EDF}"/>
                </c:ext>
              </c:extLst>
            </c:dLbl>
            <c:dLbl>
              <c:idx val="34"/>
              <c:layout>
                <c:manualLayout>
                  <c:x val="0"/>
                  <c:y val="2.690403551453740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F55-4F26-ADC1-B3DB9E413ED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latin typeface="Calibri" panose="020F0502020204030204" pitchFamily="34" charset="0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26</c:f>
              <c:strCache>
                <c:ptCount val="19"/>
                <c:pt idx="0">
                  <c:v>W1</c:v>
                </c:pt>
                <c:pt idx="1">
                  <c:v>W2</c:v>
                </c:pt>
                <c:pt idx="2">
                  <c:v>w3</c:v>
                </c:pt>
                <c:pt idx="4">
                  <c:v>W1</c:v>
                </c:pt>
                <c:pt idx="5">
                  <c:v>W2</c:v>
                </c:pt>
                <c:pt idx="6">
                  <c:v>w3</c:v>
                </c:pt>
                <c:pt idx="8">
                  <c:v>W1</c:v>
                </c:pt>
                <c:pt idx="9">
                  <c:v>W2</c:v>
                </c:pt>
                <c:pt idx="10">
                  <c:v>w3</c:v>
                </c:pt>
                <c:pt idx="12">
                  <c:v>W1</c:v>
                </c:pt>
                <c:pt idx="13">
                  <c:v>W2</c:v>
                </c:pt>
                <c:pt idx="14">
                  <c:v>w3</c:v>
                </c:pt>
                <c:pt idx="16">
                  <c:v>W1</c:v>
                </c:pt>
                <c:pt idx="17">
                  <c:v>W2</c:v>
                </c:pt>
                <c:pt idx="18">
                  <c:v>w3</c:v>
                </c:pt>
              </c:strCache>
            </c:strRef>
          </c:cat>
          <c:val>
            <c:numRef>
              <c:f>Sheet1!$D$2:$D$26</c:f>
              <c:numCache>
                <c:formatCode>General</c:formatCode>
                <c:ptCount val="19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8">
                  <c:v>10</c:v>
                </c:pt>
                <c:pt idx="9">
                  <c:v>8</c:v>
                </c:pt>
                <c:pt idx="10">
                  <c:v>11</c:v>
                </c:pt>
                <c:pt idx="12">
                  <c:v>1</c:v>
                </c:pt>
                <c:pt idx="13">
                  <c:v>2</c:v>
                </c:pt>
                <c:pt idx="14">
                  <c:v>0</c:v>
                </c:pt>
                <c:pt idx="16">
                  <c:v>1</c:v>
                </c:pt>
                <c:pt idx="17">
                  <c:v>1</c:v>
                </c:pt>
                <c:pt idx="18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203F-4E49-A521-E92E086B20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2117675896"/>
        <c:axId val="2117679336"/>
      </c:barChart>
      <c:catAx>
        <c:axId val="2117675896"/>
        <c:scaling>
          <c:orientation val="minMax"/>
        </c:scaling>
        <c:delete val="0"/>
        <c:axPos val="b"/>
        <c:numFmt formatCode="General" sourceLinked="1"/>
        <c:majorTickMark val="in"/>
        <c:minorTickMark val="none"/>
        <c:tickLblPos val="nextTo"/>
        <c:spPr>
          <a:ln w="3850">
            <a:solidFill>
              <a:schemeClr val="tx1"/>
            </a:solidFill>
            <a:prstDash val="solid"/>
          </a:ln>
        </c:spPr>
        <c:txPr>
          <a:bodyPr rot="2700000" vert="horz"/>
          <a:lstStyle/>
          <a:p>
            <a:pPr>
              <a:defRPr b="1">
                <a:latin typeface="Calibri" panose="020F0502020204030204" pitchFamily="34" charset="0"/>
              </a:defRPr>
            </a:pPr>
            <a:endParaRPr lang="zh-CN"/>
          </a:p>
        </c:txPr>
        <c:crossAx val="2117679336"/>
        <c:crosses val="autoZero"/>
        <c:auto val="0"/>
        <c:lblAlgn val="ctr"/>
        <c:lblOffset val="100"/>
        <c:tickMarkSkip val="1"/>
        <c:noMultiLvlLbl val="0"/>
      </c:catAx>
      <c:valAx>
        <c:axId val="2117679336"/>
        <c:scaling>
          <c:orientation val="minMax"/>
          <c:max val="100"/>
          <c:min val="0"/>
        </c:scaling>
        <c:delete val="1"/>
        <c:axPos val="r"/>
        <c:numFmt formatCode="General" sourceLinked="1"/>
        <c:majorTickMark val="out"/>
        <c:minorTickMark val="none"/>
        <c:tickLblPos val="none"/>
        <c:crossAx val="2117675896"/>
        <c:crosses val="max"/>
        <c:crossBetween val="between"/>
        <c:majorUnit val="20"/>
        <c:minorUnit val="10"/>
      </c:valAx>
      <c:spPr>
        <a:noFill/>
        <a:ln w="30798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0" i="0" u="none" strike="noStrike" baseline="0">
          <a:solidFill>
            <a:schemeClr val="tx1"/>
          </a:solidFill>
          <a:latin typeface="+mn-ea"/>
          <a:ea typeface="+mn-ea"/>
          <a:cs typeface="Arial"/>
        </a:defRPr>
      </a:pPr>
      <a:endParaRPr lang="zh-CN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63934426229508E-3"/>
          <c:y val="0.103678929765886"/>
          <c:w val="1"/>
          <c:h val="0.68126468300581"/>
        </c:manualLayout>
      </c:layout>
      <c:barChart>
        <c:barDir val="col"/>
        <c:grouping val="clustered"/>
        <c:varyColors val="0"/>
        <c:ser>
          <c:idx val="4"/>
          <c:order val="0"/>
          <c:tx>
            <c:strRef>
              <c:f>Sheet1!$B$1</c:f>
              <c:strCache>
                <c:ptCount val="1"/>
                <c:pt idx="0">
                  <c:v>P3M Usage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 w="30798">
              <a:solidFill>
                <a:schemeClr val="bg1"/>
              </a:solidFill>
            </a:ln>
          </c:spPr>
          <c:invertIfNegative val="0"/>
          <c:dLbls>
            <c:dLbl>
              <c:idx val="9"/>
              <c:tx>
                <c:rich>
                  <a:bodyPr/>
                  <a:lstStyle/>
                  <a:p>
                    <a:r>
                      <a:rPr lang="en-US" altLang="zh-CN" dirty="0"/>
                      <a:t>63</a:t>
                    </a:r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806-4A32-A492-59619676CDF0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806-4A32-A492-59619676CDF0}"/>
                </c:ext>
              </c:extLst>
            </c:dLbl>
            <c:dLbl>
              <c:idx val="19"/>
              <c:layout>
                <c:manualLayout>
                  <c:x val="-1.1019480706538675E-3"/>
                  <c:y val="-1.2354413986897827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806-4A32-A492-59619676CDF0}"/>
                </c:ext>
              </c:extLst>
            </c:dLbl>
            <c:dLbl>
              <c:idx val="3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806-4A32-A492-59619676CDF0}"/>
                </c:ext>
              </c:extLst>
            </c:dLbl>
            <c:dLbl>
              <c:idx val="3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2806-4A32-A492-59619676CDF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latin typeface="Calibri" panose="020F0502020204030204" pitchFamily="34" charset="0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6</c:f>
              <c:strCache>
                <c:ptCount val="19"/>
                <c:pt idx="0">
                  <c:v>W1</c:v>
                </c:pt>
                <c:pt idx="1">
                  <c:v>W2</c:v>
                </c:pt>
                <c:pt idx="2">
                  <c:v>W3</c:v>
                </c:pt>
                <c:pt idx="4">
                  <c:v>W1</c:v>
                </c:pt>
                <c:pt idx="5">
                  <c:v>W2</c:v>
                </c:pt>
                <c:pt idx="6">
                  <c:v>W3</c:v>
                </c:pt>
                <c:pt idx="8">
                  <c:v>W1</c:v>
                </c:pt>
                <c:pt idx="9">
                  <c:v>W2</c:v>
                </c:pt>
                <c:pt idx="10">
                  <c:v>W3</c:v>
                </c:pt>
                <c:pt idx="12">
                  <c:v>W1</c:v>
                </c:pt>
                <c:pt idx="13">
                  <c:v>W2</c:v>
                </c:pt>
                <c:pt idx="14">
                  <c:v>W3</c:v>
                </c:pt>
                <c:pt idx="16">
                  <c:v>W1</c:v>
                </c:pt>
                <c:pt idx="17">
                  <c:v>W2</c:v>
                </c:pt>
                <c:pt idx="18">
                  <c:v>W3</c:v>
                </c:pt>
              </c:strCache>
            </c:strRef>
          </c:cat>
          <c:val>
            <c:numRef>
              <c:f>Sheet1!$B$2:$B$26</c:f>
              <c:numCache>
                <c:formatCode>General</c:formatCode>
                <c:ptCount val="19"/>
                <c:pt idx="0">
                  <c:v>41</c:v>
                </c:pt>
                <c:pt idx="1">
                  <c:v>38</c:v>
                </c:pt>
                <c:pt idx="2">
                  <c:v>44</c:v>
                </c:pt>
                <c:pt idx="4">
                  <c:v>44</c:v>
                </c:pt>
                <c:pt idx="5">
                  <c:v>41</c:v>
                </c:pt>
                <c:pt idx="6">
                  <c:v>44</c:v>
                </c:pt>
                <c:pt idx="8">
                  <c:v>41</c:v>
                </c:pt>
                <c:pt idx="9">
                  <c:v>41</c:v>
                </c:pt>
                <c:pt idx="10">
                  <c:v>43</c:v>
                </c:pt>
                <c:pt idx="12">
                  <c:v>37</c:v>
                </c:pt>
                <c:pt idx="13">
                  <c:v>36</c:v>
                </c:pt>
                <c:pt idx="14">
                  <c:v>42</c:v>
                </c:pt>
                <c:pt idx="16">
                  <c:v>0</c:v>
                </c:pt>
                <c:pt idx="17">
                  <c:v>0</c:v>
                </c:pt>
                <c:pt idx="18">
                  <c:v>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806-4A32-A492-59619676CDF0}"/>
            </c:ext>
          </c:extLst>
        </c:ser>
        <c:ser>
          <c:idx val="0"/>
          <c:order val="1"/>
          <c:tx>
            <c:strRef>
              <c:f>Sheet1!$C$1</c:f>
              <c:strCache>
                <c:ptCount val="1"/>
                <c:pt idx="0">
                  <c:v>P1M Usage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  <a:ln w="30798">
              <a:solidFill>
                <a:schemeClr val="bg1"/>
              </a:solidFill>
            </a:ln>
          </c:spPr>
          <c:invertIfNegative val="0"/>
          <c:dLbls>
            <c:dLbl>
              <c:idx val="2"/>
              <c:layout>
                <c:manualLayout>
                  <c:x val="1.086956335680179E-3"/>
                  <c:y val="3.295981044216100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806-4A32-A492-59619676CDF0}"/>
                </c:ext>
              </c:extLst>
            </c:dLbl>
            <c:dLbl>
              <c:idx val="9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806-4A32-A492-59619676CDF0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2806-4A32-A492-59619676CDF0}"/>
                </c:ext>
              </c:extLst>
            </c:dLbl>
            <c:dLbl>
              <c:idx val="22"/>
              <c:layout>
                <c:manualLayout>
                  <c:x val="-7.9709210475612596E-17"/>
                  <c:y val="2.059988152635065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2806-4A32-A492-59619676CDF0}"/>
                </c:ext>
              </c:extLst>
            </c:dLbl>
            <c:dLbl>
              <c:idx val="3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2806-4A32-A492-59619676CDF0}"/>
                </c:ext>
              </c:extLst>
            </c:dLbl>
            <c:dLbl>
              <c:idx val="3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2806-4A32-A492-59619676CDF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latin typeface="Calibri" panose="020F0502020204030204" pitchFamily="34" charset="0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26</c:f>
              <c:strCache>
                <c:ptCount val="19"/>
                <c:pt idx="0">
                  <c:v>W1</c:v>
                </c:pt>
                <c:pt idx="1">
                  <c:v>W2</c:v>
                </c:pt>
                <c:pt idx="2">
                  <c:v>W3</c:v>
                </c:pt>
                <c:pt idx="4">
                  <c:v>W1</c:v>
                </c:pt>
                <c:pt idx="5">
                  <c:v>W2</c:v>
                </c:pt>
                <c:pt idx="6">
                  <c:v>W3</c:v>
                </c:pt>
                <c:pt idx="8">
                  <c:v>W1</c:v>
                </c:pt>
                <c:pt idx="9">
                  <c:v>W2</c:v>
                </c:pt>
                <c:pt idx="10">
                  <c:v>W3</c:v>
                </c:pt>
                <c:pt idx="12">
                  <c:v>W1</c:v>
                </c:pt>
                <c:pt idx="13">
                  <c:v>W2</c:v>
                </c:pt>
                <c:pt idx="14">
                  <c:v>W3</c:v>
                </c:pt>
                <c:pt idx="16">
                  <c:v>W1</c:v>
                </c:pt>
                <c:pt idx="17">
                  <c:v>W2</c:v>
                </c:pt>
                <c:pt idx="18">
                  <c:v>W3</c:v>
                </c:pt>
              </c:strCache>
            </c:strRef>
          </c:cat>
          <c:val>
            <c:numRef>
              <c:f>Sheet1!$C$2:$C$26</c:f>
              <c:numCache>
                <c:formatCode>General</c:formatCode>
                <c:ptCount val="19"/>
                <c:pt idx="0">
                  <c:v>29</c:v>
                </c:pt>
                <c:pt idx="1">
                  <c:v>25</c:v>
                </c:pt>
                <c:pt idx="2">
                  <c:v>32</c:v>
                </c:pt>
                <c:pt idx="4">
                  <c:v>28</c:v>
                </c:pt>
                <c:pt idx="5">
                  <c:v>29</c:v>
                </c:pt>
                <c:pt idx="6">
                  <c:v>31</c:v>
                </c:pt>
                <c:pt idx="8">
                  <c:v>26</c:v>
                </c:pt>
                <c:pt idx="9">
                  <c:v>28</c:v>
                </c:pt>
                <c:pt idx="10">
                  <c:v>28</c:v>
                </c:pt>
                <c:pt idx="12">
                  <c:v>24</c:v>
                </c:pt>
                <c:pt idx="13">
                  <c:v>27</c:v>
                </c:pt>
                <c:pt idx="14">
                  <c:v>29</c:v>
                </c:pt>
                <c:pt idx="16">
                  <c:v>0</c:v>
                </c:pt>
                <c:pt idx="17">
                  <c:v>0</c:v>
                </c:pt>
                <c:pt idx="18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2806-4A32-A492-59619676CDF0}"/>
            </c:ext>
          </c:extLst>
        </c:ser>
        <c:ser>
          <c:idx val="9"/>
          <c:order val="2"/>
          <c:tx>
            <c:strRef>
              <c:f>Sheet1!$D$1</c:f>
              <c:strCache>
                <c:ptCount val="1"/>
                <c:pt idx="0">
                  <c:v>P3M 
BUMO</c:v>
                </c:pt>
              </c:strCache>
            </c:strRef>
          </c:tx>
          <c:spPr>
            <a:solidFill>
              <a:schemeClr val="tx2"/>
            </a:solidFill>
            <a:ln w="30798">
              <a:solidFill>
                <a:schemeClr val="bg1"/>
              </a:solidFill>
            </a:ln>
          </c:spPr>
          <c:invertIfNegative val="0"/>
          <c:dLbls>
            <c:dLbl>
              <c:idx val="9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2806-4A32-A492-59619676CDF0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2806-4A32-A492-59619676CDF0}"/>
                </c:ext>
              </c:extLst>
            </c:dLbl>
            <c:dLbl>
              <c:idx val="3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2806-4A32-A492-59619676CDF0}"/>
                </c:ext>
              </c:extLst>
            </c:dLbl>
            <c:dLbl>
              <c:idx val="3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2806-4A32-A492-59619676CDF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latin typeface="Calibri" panose="020F0502020204030204" pitchFamily="34" charset="0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26</c:f>
              <c:strCache>
                <c:ptCount val="19"/>
                <c:pt idx="0">
                  <c:v>W1</c:v>
                </c:pt>
                <c:pt idx="1">
                  <c:v>W2</c:v>
                </c:pt>
                <c:pt idx="2">
                  <c:v>W3</c:v>
                </c:pt>
                <c:pt idx="4">
                  <c:v>W1</c:v>
                </c:pt>
                <c:pt idx="5">
                  <c:v>W2</c:v>
                </c:pt>
                <c:pt idx="6">
                  <c:v>W3</c:v>
                </c:pt>
                <c:pt idx="8">
                  <c:v>W1</c:v>
                </c:pt>
                <c:pt idx="9">
                  <c:v>W2</c:v>
                </c:pt>
                <c:pt idx="10">
                  <c:v>W3</c:v>
                </c:pt>
                <c:pt idx="12">
                  <c:v>W1</c:v>
                </c:pt>
                <c:pt idx="13">
                  <c:v>W2</c:v>
                </c:pt>
                <c:pt idx="14">
                  <c:v>W3</c:v>
                </c:pt>
                <c:pt idx="16">
                  <c:v>W1</c:v>
                </c:pt>
                <c:pt idx="17">
                  <c:v>W2</c:v>
                </c:pt>
                <c:pt idx="18">
                  <c:v>W3</c:v>
                </c:pt>
              </c:strCache>
            </c:strRef>
          </c:cat>
          <c:val>
            <c:numRef>
              <c:f>Sheet1!$D$2:$D$26</c:f>
              <c:numCache>
                <c:formatCode>General</c:formatCode>
                <c:ptCount val="19"/>
                <c:pt idx="0">
                  <c:v>3</c:v>
                </c:pt>
                <c:pt idx="1">
                  <c:v>5</c:v>
                </c:pt>
                <c:pt idx="2">
                  <c:v>9</c:v>
                </c:pt>
                <c:pt idx="4">
                  <c:v>3</c:v>
                </c:pt>
                <c:pt idx="5">
                  <c:v>3</c:v>
                </c:pt>
                <c:pt idx="6">
                  <c:v>2</c:v>
                </c:pt>
                <c:pt idx="8">
                  <c:v>1</c:v>
                </c:pt>
                <c:pt idx="9">
                  <c:v>2</c:v>
                </c:pt>
                <c:pt idx="10">
                  <c:v>1</c:v>
                </c:pt>
                <c:pt idx="12">
                  <c:v>3</c:v>
                </c:pt>
                <c:pt idx="13">
                  <c:v>6</c:v>
                </c:pt>
                <c:pt idx="14">
                  <c:v>6</c:v>
                </c:pt>
                <c:pt idx="16">
                  <c:v>0</c:v>
                </c:pt>
                <c:pt idx="17">
                  <c:v>0</c:v>
                </c:pt>
                <c:pt idx="18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2806-4A32-A492-59619676CD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2118065352"/>
        <c:axId val="2118068792"/>
      </c:barChart>
      <c:catAx>
        <c:axId val="2118065352"/>
        <c:scaling>
          <c:orientation val="minMax"/>
        </c:scaling>
        <c:delete val="0"/>
        <c:axPos val="b"/>
        <c:numFmt formatCode="General" sourceLinked="1"/>
        <c:majorTickMark val="in"/>
        <c:minorTickMark val="none"/>
        <c:tickLblPos val="nextTo"/>
        <c:spPr>
          <a:ln w="3850">
            <a:solidFill>
              <a:schemeClr val="tx1"/>
            </a:solidFill>
            <a:prstDash val="solid"/>
          </a:ln>
        </c:spPr>
        <c:txPr>
          <a:bodyPr rot="2700000" vert="horz"/>
          <a:lstStyle/>
          <a:p>
            <a:pPr>
              <a:defRPr b="1">
                <a:latin typeface="Calibri" panose="020F0502020204030204" pitchFamily="34" charset="0"/>
              </a:defRPr>
            </a:pPr>
            <a:endParaRPr lang="zh-CN"/>
          </a:p>
        </c:txPr>
        <c:crossAx val="2118068792"/>
        <c:crosses val="autoZero"/>
        <c:auto val="0"/>
        <c:lblAlgn val="ctr"/>
        <c:lblOffset val="100"/>
        <c:tickMarkSkip val="1"/>
        <c:noMultiLvlLbl val="0"/>
      </c:catAx>
      <c:valAx>
        <c:axId val="2118068792"/>
        <c:scaling>
          <c:orientation val="minMax"/>
          <c:max val="100"/>
          <c:min val="0"/>
        </c:scaling>
        <c:delete val="1"/>
        <c:axPos val="r"/>
        <c:numFmt formatCode="General" sourceLinked="1"/>
        <c:majorTickMark val="out"/>
        <c:minorTickMark val="none"/>
        <c:tickLblPos val="none"/>
        <c:crossAx val="2118065352"/>
        <c:crosses val="max"/>
        <c:crossBetween val="between"/>
        <c:majorUnit val="20"/>
        <c:minorUnit val="10"/>
      </c:valAx>
      <c:spPr>
        <a:noFill/>
        <a:ln w="30798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0" i="0" u="none" strike="noStrike" baseline="0">
          <a:solidFill>
            <a:schemeClr val="tx1"/>
          </a:solidFill>
          <a:latin typeface="+mn-ea"/>
          <a:ea typeface="+mn-ea"/>
          <a:cs typeface="Arial"/>
        </a:defRPr>
      </a:pPr>
      <a:endParaRPr lang="zh-CN"/>
    </a:p>
  </c:txPr>
  <c:externalData r:id="rId2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6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6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44C547-D326-4F64-A8E0-641145702A80}" type="datetimeFigureOut">
              <a:rPr lang="en-US" smtClean="0"/>
              <a:pPr/>
              <a:t>2/11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272"/>
            <a:ext cx="2945659" cy="4966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272"/>
            <a:ext cx="2945659" cy="4966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53A348-940B-4EBF-8F00-80327F05F57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9176110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5659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85" tIns="46243" rIns="92485" bIns="46243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buFontTx/>
              <a:buNone/>
              <a:defRPr sz="1200"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445" y="1"/>
            <a:ext cx="2945659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85" tIns="46243" rIns="92485" bIns="46243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buFontTx/>
              <a:buNone/>
              <a:defRPr sz="1200"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488" y="744538"/>
            <a:ext cx="6616700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717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768" y="4715155"/>
            <a:ext cx="5438140" cy="446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85" tIns="46243" rIns="92485" bIns="4624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Textmasterformate durch Klicken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717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28583"/>
            <a:ext cx="2945659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85" tIns="46243" rIns="92485" bIns="46243" numCol="1" anchor="b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buFontTx/>
              <a:buNone/>
              <a:defRPr sz="1200">
                <a:latin typeface="Arial" pitchFamily="34" charset="0"/>
              </a:defRPr>
            </a:lvl1pPr>
          </a:lstStyle>
          <a:p>
            <a:r>
              <a:rPr lang="en-US"/>
              <a:t>1</a:t>
            </a:r>
            <a:endParaRPr lang="en-US" dirty="0"/>
          </a:p>
        </p:txBody>
      </p:sp>
      <p:sp>
        <p:nvSpPr>
          <p:cNvPr id="717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45" y="9428583"/>
            <a:ext cx="2945659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85" tIns="46243" rIns="92485" bIns="46243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buFontTx/>
              <a:buNone/>
              <a:defRPr sz="1200">
                <a:latin typeface="Arial" pitchFamily="34" charset="0"/>
              </a:defRPr>
            </a:lvl1pPr>
          </a:lstStyle>
          <a:p>
            <a:fld id="{8CA6B9AE-CE0E-4D38-AA35-BAB028D51128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515799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154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309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463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617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5771" algn="l" defTabSz="9143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26" algn="l" defTabSz="9143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80" algn="l" defTabSz="9143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34" algn="l" defTabSz="9143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9E9CC8-38F6-2F42-A72D-07967190DB25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等线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等线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02642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9E9CC8-38F6-2F42-A72D-07967190DB25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等线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等线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73164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8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 bwMode="auto">
          <a:xfrm>
            <a:off x="182872" y="880145"/>
            <a:ext cx="11824701" cy="0"/>
          </a:xfrm>
          <a:prstGeom prst="line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824831" y="6529565"/>
            <a:ext cx="182742" cy="184667"/>
          </a:xfrm>
        </p:spPr>
        <p:txBody>
          <a:bodyPr/>
          <a:lstStyle>
            <a:lvl1pPr>
              <a:defRPr/>
            </a:lvl1pPr>
          </a:lstStyle>
          <a:p>
            <a:fld id="{57F57E2C-CA48-4F4C-AFC2-15F244A93C75}" type="slidenum">
              <a:rPr lang="en-US">
                <a:solidFill>
                  <a:srgbClr val="1F497D"/>
                </a:solidFill>
              </a:rPr>
              <a:pPr/>
              <a:t>‹#›</a:t>
            </a:fld>
            <a:endParaRPr lang="en-US" dirty="0">
              <a:solidFill>
                <a:srgbClr val="1F49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01510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ECIA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1118254" y="97200"/>
            <a:ext cx="7439032" cy="612000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>
            <a:lvl1pPr algn="l">
              <a:lnSpc>
                <a:spcPct val="90000"/>
              </a:lnSpc>
              <a:defRPr sz="20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grpSp>
        <p:nvGrpSpPr>
          <p:cNvPr id="46" name="Group 4"/>
          <p:cNvGrpSpPr>
            <a:grpSpLocks noChangeAspect="1"/>
          </p:cNvGrpSpPr>
          <p:nvPr userDrawn="1"/>
        </p:nvGrpSpPr>
        <p:grpSpPr bwMode="gray">
          <a:xfrm>
            <a:off x="201574" y="151200"/>
            <a:ext cx="582858" cy="468000"/>
            <a:chOff x="1352" y="681"/>
            <a:chExt cx="3519" cy="3153"/>
          </a:xfrm>
        </p:grpSpPr>
        <p:sp>
          <p:nvSpPr>
            <p:cNvPr id="47" name="Freeform 5"/>
            <p:cNvSpPr>
              <a:spLocks noChangeAspect="1"/>
            </p:cNvSpPr>
            <p:nvPr/>
          </p:nvSpPr>
          <p:spPr bwMode="gray">
            <a:xfrm>
              <a:off x="1352" y="681"/>
              <a:ext cx="3519" cy="3153"/>
            </a:xfrm>
            <a:custGeom>
              <a:avLst/>
              <a:gdLst/>
              <a:ahLst/>
              <a:cxnLst>
                <a:cxn ang="0">
                  <a:pos x="0" y="3449"/>
                </a:cxn>
                <a:cxn ang="0">
                  <a:pos x="0" y="3449"/>
                </a:cxn>
                <a:cxn ang="0">
                  <a:pos x="0" y="0"/>
                </a:cxn>
                <a:cxn ang="0">
                  <a:pos x="3696" y="0"/>
                </a:cxn>
                <a:cxn ang="0">
                  <a:pos x="3327" y="3449"/>
                </a:cxn>
                <a:cxn ang="0">
                  <a:pos x="0" y="3449"/>
                </a:cxn>
              </a:cxnLst>
              <a:rect l="0" t="0" r="r" b="b"/>
              <a:pathLst>
                <a:path w="3862" h="3449">
                  <a:moveTo>
                    <a:pt x="0" y="3449"/>
                  </a:moveTo>
                  <a:lnTo>
                    <a:pt x="0" y="3449"/>
                  </a:lnTo>
                  <a:lnTo>
                    <a:pt x="0" y="0"/>
                  </a:lnTo>
                  <a:lnTo>
                    <a:pt x="3696" y="0"/>
                  </a:lnTo>
                  <a:cubicBezTo>
                    <a:pt x="3862" y="1150"/>
                    <a:pt x="3797" y="2241"/>
                    <a:pt x="3327" y="3449"/>
                  </a:cubicBezTo>
                  <a:lnTo>
                    <a:pt x="0" y="3449"/>
                  </a:lnTo>
                  <a:close/>
                </a:path>
              </a:pathLst>
            </a:custGeom>
            <a:solidFill>
              <a:srgbClr val="009D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" name="Freeform 6"/>
            <p:cNvSpPr>
              <a:spLocks noChangeAspect="1"/>
            </p:cNvSpPr>
            <p:nvPr/>
          </p:nvSpPr>
          <p:spPr bwMode="gray">
            <a:xfrm>
              <a:off x="2708" y="1843"/>
              <a:ext cx="75" cy="54"/>
            </a:xfrm>
            <a:custGeom>
              <a:avLst/>
              <a:gdLst/>
              <a:ahLst/>
              <a:cxnLst>
                <a:cxn ang="0">
                  <a:pos x="16" y="40"/>
                </a:cxn>
                <a:cxn ang="0">
                  <a:pos x="16" y="40"/>
                </a:cxn>
                <a:cxn ang="0">
                  <a:pos x="0" y="54"/>
                </a:cxn>
                <a:cxn ang="0">
                  <a:pos x="79" y="22"/>
                </a:cxn>
                <a:cxn ang="0">
                  <a:pos x="81" y="0"/>
                </a:cxn>
                <a:cxn ang="0">
                  <a:pos x="16" y="40"/>
                </a:cxn>
              </a:cxnLst>
              <a:rect l="0" t="0" r="r" b="b"/>
              <a:pathLst>
                <a:path w="81" h="66">
                  <a:moveTo>
                    <a:pt x="16" y="40"/>
                  </a:moveTo>
                  <a:lnTo>
                    <a:pt x="16" y="40"/>
                  </a:lnTo>
                  <a:lnTo>
                    <a:pt x="0" y="54"/>
                  </a:lnTo>
                  <a:cubicBezTo>
                    <a:pt x="35" y="66"/>
                    <a:pt x="72" y="42"/>
                    <a:pt x="79" y="22"/>
                  </a:cubicBezTo>
                  <a:lnTo>
                    <a:pt x="81" y="0"/>
                  </a:lnTo>
                  <a:cubicBezTo>
                    <a:pt x="54" y="6"/>
                    <a:pt x="27" y="19"/>
                    <a:pt x="16" y="40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" name="Freeform 7"/>
            <p:cNvSpPr>
              <a:spLocks noChangeAspect="1"/>
            </p:cNvSpPr>
            <p:nvPr/>
          </p:nvSpPr>
          <p:spPr bwMode="gray">
            <a:xfrm>
              <a:off x="2869" y="1972"/>
              <a:ext cx="65" cy="54"/>
            </a:xfrm>
            <a:custGeom>
              <a:avLst/>
              <a:gdLst/>
              <a:ahLst/>
              <a:cxnLst>
                <a:cxn ang="0">
                  <a:pos x="27" y="1"/>
                </a:cxn>
                <a:cxn ang="0">
                  <a:pos x="27" y="1"/>
                </a:cxn>
                <a:cxn ang="0">
                  <a:pos x="0" y="0"/>
                </a:cxn>
                <a:cxn ang="0">
                  <a:pos x="33" y="58"/>
                </a:cxn>
                <a:cxn ang="0">
                  <a:pos x="53" y="63"/>
                </a:cxn>
                <a:cxn ang="0">
                  <a:pos x="27" y="1"/>
                </a:cxn>
              </a:cxnLst>
              <a:rect l="0" t="0" r="r" b="b"/>
              <a:pathLst>
                <a:path w="81" h="63">
                  <a:moveTo>
                    <a:pt x="27" y="1"/>
                  </a:moveTo>
                  <a:lnTo>
                    <a:pt x="27" y="1"/>
                  </a:lnTo>
                  <a:lnTo>
                    <a:pt x="0" y="0"/>
                  </a:lnTo>
                  <a:cubicBezTo>
                    <a:pt x="0" y="24"/>
                    <a:pt x="8" y="43"/>
                    <a:pt x="33" y="58"/>
                  </a:cubicBezTo>
                  <a:lnTo>
                    <a:pt x="53" y="63"/>
                  </a:lnTo>
                  <a:cubicBezTo>
                    <a:pt x="81" y="39"/>
                    <a:pt x="44" y="15"/>
                    <a:pt x="27" y="1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0" name="Freeform 8"/>
            <p:cNvSpPr>
              <a:spLocks noChangeAspect="1"/>
            </p:cNvSpPr>
            <p:nvPr/>
          </p:nvSpPr>
          <p:spPr bwMode="gray">
            <a:xfrm>
              <a:off x="2622" y="1413"/>
              <a:ext cx="86" cy="75"/>
            </a:xfrm>
            <a:custGeom>
              <a:avLst/>
              <a:gdLst/>
              <a:ahLst/>
              <a:cxnLst>
                <a:cxn ang="0">
                  <a:pos x="20" y="50"/>
                </a:cxn>
                <a:cxn ang="0">
                  <a:pos x="20" y="50"/>
                </a:cxn>
                <a:cxn ang="0">
                  <a:pos x="0" y="64"/>
                </a:cxn>
                <a:cxn ang="0">
                  <a:pos x="89" y="27"/>
                </a:cxn>
                <a:cxn ang="0">
                  <a:pos x="96" y="0"/>
                </a:cxn>
                <a:cxn ang="0">
                  <a:pos x="20" y="50"/>
                </a:cxn>
              </a:cxnLst>
              <a:rect l="0" t="0" r="r" b="b"/>
              <a:pathLst>
                <a:path w="96" h="79">
                  <a:moveTo>
                    <a:pt x="20" y="50"/>
                  </a:moveTo>
                  <a:lnTo>
                    <a:pt x="20" y="50"/>
                  </a:lnTo>
                  <a:lnTo>
                    <a:pt x="0" y="64"/>
                  </a:lnTo>
                  <a:cubicBezTo>
                    <a:pt x="41" y="79"/>
                    <a:pt x="75" y="57"/>
                    <a:pt x="89" y="27"/>
                  </a:cubicBezTo>
                  <a:lnTo>
                    <a:pt x="96" y="0"/>
                  </a:lnTo>
                  <a:cubicBezTo>
                    <a:pt x="63" y="8"/>
                    <a:pt x="38" y="8"/>
                    <a:pt x="20" y="50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" name="Freeform 9"/>
            <p:cNvSpPr>
              <a:spLocks noChangeAspect="1"/>
            </p:cNvSpPr>
            <p:nvPr/>
          </p:nvSpPr>
          <p:spPr bwMode="gray">
            <a:xfrm>
              <a:off x="2568" y="1563"/>
              <a:ext cx="75" cy="76"/>
            </a:xfrm>
            <a:custGeom>
              <a:avLst/>
              <a:gdLst/>
              <a:ahLst/>
              <a:cxnLst>
                <a:cxn ang="0">
                  <a:pos x="77" y="22"/>
                </a:cxn>
                <a:cxn ang="0">
                  <a:pos x="77" y="22"/>
                </a:cxn>
                <a:cxn ang="0">
                  <a:pos x="71" y="0"/>
                </a:cxn>
                <a:cxn ang="0">
                  <a:pos x="0" y="44"/>
                </a:cxn>
                <a:cxn ang="0">
                  <a:pos x="0" y="62"/>
                </a:cxn>
                <a:cxn ang="0">
                  <a:pos x="77" y="22"/>
                </a:cxn>
              </a:cxnLst>
              <a:rect l="0" t="0" r="r" b="b"/>
              <a:pathLst>
                <a:path w="77" h="77">
                  <a:moveTo>
                    <a:pt x="77" y="22"/>
                  </a:moveTo>
                  <a:lnTo>
                    <a:pt x="77" y="22"/>
                  </a:lnTo>
                  <a:lnTo>
                    <a:pt x="71" y="0"/>
                  </a:lnTo>
                  <a:cubicBezTo>
                    <a:pt x="38" y="7"/>
                    <a:pt x="14" y="19"/>
                    <a:pt x="0" y="44"/>
                  </a:cubicBezTo>
                  <a:lnTo>
                    <a:pt x="0" y="62"/>
                  </a:lnTo>
                  <a:cubicBezTo>
                    <a:pt x="42" y="77"/>
                    <a:pt x="64" y="40"/>
                    <a:pt x="77" y="22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2" name="Freeform 10"/>
            <p:cNvSpPr>
              <a:spLocks noChangeAspect="1"/>
            </p:cNvSpPr>
            <p:nvPr/>
          </p:nvSpPr>
          <p:spPr bwMode="gray">
            <a:xfrm>
              <a:off x="2547" y="1725"/>
              <a:ext cx="86" cy="64"/>
            </a:xfrm>
            <a:custGeom>
              <a:avLst/>
              <a:gdLst/>
              <a:ahLst/>
              <a:cxnLst>
                <a:cxn ang="0">
                  <a:pos x="0" y="52"/>
                </a:cxn>
                <a:cxn ang="0">
                  <a:pos x="0" y="52"/>
                </a:cxn>
                <a:cxn ang="0">
                  <a:pos x="14" y="60"/>
                </a:cxn>
                <a:cxn ang="0">
                  <a:pos x="73" y="23"/>
                </a:cxn>
                <a:cxn ang="0">
                  <a:pos x="90" y="8"/>
                </a:cxn>
                <a:cxn ang="0">
                  <a:pos x="0" y="52"/>
                </a:cxn>
              </a:cxnLst>
              <a:rect l="0" t="0" r="r" b="b"/>
              <a:pathLst>
                <a:path w="90" h="74">
                  <a:moveTo>
                    <a:pt x="0" y="52"/>
                  </a:moveTo>
                  <a:lnTo>
                    <a:pt x="0" y="52"/>
                  </a:lnTo>
                  <a:lnTo>
                    <a:pt x="14" y="60"/>
                  </a:lnTo>
                  <a:cubicBezTo>
                    <a:pt x="59" y="74"/>
                    <a:pt x="62" y="38"/>
                    <a:pt x="73" y="23"/>
                  </a:cubicBezTo>
                  <a:lnTo>
                    <a:pt x="90" y="8"/>
                  </a:lnTo>
                  <a:cubicBezTo>
                    <a:pt x="48" y="0"/>
                    <a:pt x="11" y="31"/>
                    <a:pt x="0" y="52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3" name="Freeform 11"/>
            <p:cNvSpPr>
              <a:spLocks noChangeAspect="1"/>
            </p:cNvSpPr>
            <p:nvPr/>
          </p:nvSpPr>
          <p:spPr bwMode="gray">
            <a:xfrm>
              <a:off x="2773" y="1176"/>
              <a:ext cx="86" cy="75"/>
            </a:xfrm>
            <a:custGeom>
              <a:avLst/>
              <a:gdLst/>
              <a:ahLst/>
              <a:cxnLst>
                <a:cxn ang="0">
                  <a:pos x="16" y="4"/>
                </a:cxn>
                <a:cxn ang="0">
                  <a:pos x="16" y="4"/>
                </a:cxn>
                <a:cxn ang="0">
                  <a:pos x="0" y="12"/>
                </a:cxn>
                <a:cxn ang="0">
                  <a:pos x="86" y="49"/>
                </a:cxn>
                <a:cxn ang="0">
                  <a:pos x="88" y="22"/>
                </a:cxn>
                <a:cxn ang="0">
                  <a:pos x="16" y="4"/>
                </a:cxn>
              </a:cxnLst>
              <a:rect l="0" t="0" r="r" b="b"/>
              <a:pathLst>
                <a:path w="88" h="72">
                  <a:moveTo>
                    <a:pt x="16" y="4"/>
                  </a:moveTo>
                  <a:lnTo>
                    <a:pt x="16" y="4"/>
                  </a:lnTo>
                  <a:lnTo>
                    <a:pt x="0" y="12"/>
                  </a:lnTo>
                  <a:cubicBezTo>
                    <a:pt x="4" y="40"/>
                    <a:pt x="70" y="72"/>
                    <a:pt x="86" y="49"/>
                  </a:cubicBezTo>
                  <a:lnTo>
                    <a:pt x="88" y="22"/>
                  </a:lnTo>
                  <a:cubicBezTo>
                    <a:pt x="67" y="8"/>
                    <a:pt x="45" y="0"/>
                    <a:pt x="16" y="4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4" name="Freeform 12"/>
            <p:cNvSpPr>
              <a:spLocks noChangeAspect="1"/>
            </p:cNvSpPr>
            <p:nvPr/>
          </p:nvSpPr>
          <p:spPr bwMode="gray">
            <a:xfrm>
              <a:off x="2955" y="1111"/>
              <a:ext cx="76" cy="87"/>
            </a:xfrm>
            <a:custGeom>
              <a:avLst/>
              <a:gdLst/>
              <a:ahLst/>
              <a:cxnLst>
                <a:cxn ang="0">
                  <a:pos x="46" y="7"/>
                </a:cxn>
                <a:cxn ang="0">
                  <a:pos x="46" y="7"/>
                </a:cxn>
                <a:cxn ang="0">
                  <a:pos x="21" y="0"/>
                </a:cxn>
                <a:cxn ang="0">
                  <a:pos x="14" y="66"/>
                </a:cxn>
                <a:cxn ang="0">
                  <a:pos x="27" y="92"/>
                </a:cxn>
                <a:cxn ang="0">
                  <a:pos x="46" y="7"/>
                </a:cxn>
              </a:cxnLst>
              <a:rect l="0" t="0" r="r" b="b"/>
              <a:pathLst>
                <a:path w="86" h="92">
                  <a:moveTo>
                    <a:pt x="46" y="7"/>
                  </a:moveTo>
                  <a:lnTo>
                    <a:pt x="46" y="7"/>
                  </a:lnTo>
                  <a:lnTo>
                    <a:pt x="21" y="0"/>
                  </a:lnTo>
                  <a:cubicBezTo>
                    <a:pt x="7" y="19"/>
                    <a:pt x="0" y="33"/>
                    <a:pt x="14" y="66"/>
                  </a:cubicBezTo>
                  <a:lnTo>
                    <a:pt x="27" y="92"/>
                  </a:lnTo>
                  <a:cubicBezTo>
                    <a:pt x="57" y="63"/>
                    <a:pt x="86" y="36"/>
                    <a:pt x="46" y="7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5" name="Freeform 13"/>
            <p:cNvSpPr>
              <a:spLocks noChangeAspect="1" noEditPoints="1"/>
            </p:cNvSpPr>
            <p:nvPr/>
          </p:nvSpPr>
          <p:spPr bwMode="gray">
            <a:xfrm>
              <a:off x="3149" y="929"/>
              <a:ext cx="667" cy="1678"/>
            </a:xfrm>
            <a:custGeom>
              <a:avLst/>
              <a:gdLst/>
              <a:ahLst/>
              <a:cxnLst>
                <a:cxn ang="0">
                  <a:pos x="451" y="808"/>
                </a:cxn>
                <a:cxn ang="0">
                  <a:pos x="451" y="808"/>
                </a:cxn>
                <a:cxn ang="0">
                  <a:pos x="326" y="776"/>
                </a:cxn>
                <a:cxn ang="0">
                  <a:pos x="477" y="746"/>
                </a:cxn>
                <a:cxn ang="0">
                  <a:pos x="493" y="773"/>
                </a:cxn>
                <a:cxn ang="0">
                  <a:pos x="451" y="808"/>
                </a:cxn>
                <a:cxn ang="0">
                  <a:pos x="451" y="808"/>
                </a:cxn>
                <a:cxn ang="0">
                  <a:pos x="639" y="841"/>
                </a:cxn>
                <a:cxn ang="0">
                  <a:pos x="639" y="841"/>
                </a:cxn>
                <a:cxn ang="0">
                  <a:pos x="601" y="701"/>
                </a:cxn>
                <a:cxn ang="0">
                  <a:pos x="634" y="646"/>
                </a:cxn>
                <a:cxn ang="0">
                  <a:pos x="627" y="477"/>
                </a:cxn>
                <a:cxn ang="0">
                  <a:pos x="641" y="463"/>
                </a:cxn>
                <a:cxn ang="0">
                  <a:pos x="627" y="414"/>
                </a:cxn>
                <a:cxn ang="0">
                  <a:pos x="615" y="342"/>
                </a:cxn>
                <a:cxn ang="0">
                  <a:pos x="590" y="286"/>
                </a:cxn>
                <a:cxn ang="0">
                  <a:pos x="602" y="260"/>
                </a:cxn>
                <a:cxn ang="0">
                  <a:pos x="560" y="236"/>
                </a:cxn>
                <a:cxn ang="0">
                  <a:pos x="523" y="213"/>
                </a:cxn>
                <a:cxn ang="0">
                  <a:pos x="514" y="180"/>
                </a:cxn>
                <a:cxn ang="0">
                  <a:pos x="483" y="195"/>
                </a:cxn>
                <a:cxn ang="0">
                  <a:pos x="476" y="154"/>
                </a:cxn>
                <a:cxn ang="0">
                  <a:pos x="434" y="171"/>
                </a:cxn>
                <a:cxn ang="0">
                  <a:pos x="411" y="119"/>
                </a:cxn>
                <a:cxn ang="0">
                  <a:pos x="389" y="124"/>
                </a:cxn>
                <a:cxn ang="0">
                  <a:pos x="356" y="150"/>
                </a:cxn>
                <a:cxn ang="0">
                  <a:pos x="356" y="101"/>
                </a:cxn>
                <a:cxn ang="0">
                  <a:pos x="341" y="93"/>
                </a:cxn>
                <a:cxn ang="0">
                  <a:pos x="314" y="81"/>
                </a:cxn>
                <a:cxn ang="0">
                  <a:pos x="276" y="97"/>
                </a:cxn>
                <a:cxn ang="0">
                  <a:pos x="292" y="51"/>
                </a:cxn>
                <a:cxn ang="0">
                  <a:pos x="244" y="106"/>
                </a:cxn>
                <a:cxn ang="0">
                  <a:pos x="216" y="112"/>
                </a:cxn>
                <a:cxn ang="0">
                  <a:pos x="266" y="43"/>
                </a:cxn>
                <a:cxn ang="0">
                  <a:pos x="214" y="91"/>
                </a:cxn>
                <a:cxn ang="0">
                  <a:pos x="173" y="98"/>
                </a:cxn>
                <a:cxn ang="0">
                  <a:pos x="186" y="38"/>
                </a:cxn>
                <a:cxn ang="0">
                  <a:pos x="173" y="69"/>
                </a:cxn>
                <a:cxn ang="0">
                  <a:pos x="166" y="36"/>
                </a:cxn>
                <a:cxn ang="0">
                  <a:pos x="142" y="114"/>
                </a:cxn>
                <a:cxn ang="0">
                  <a:pos x="126" y="39"/>
                </a:cxn>
                <a:cxn ang="0">
                  <a:pos x="80" y="112"/>
                </a:cxn>
                <a:cxn ang="0">
                  <a:pos x="56" y="117"/>
                </a:cxn>
                <a:cxn ang="0">
                  <a:pos x="37" y="43"/>
                </a:cxn>
                <a:cxn ang="0">
                  <a:pos x="5" y="1808"/>
                </a:cxn>
                <a:cxn ang="0">
                  <a:pos x="0" y="1840"/>
                </a:cxn>
                <a:cxn ang="0">
                  <a:pos x="162" y="1823"/>
                </a:cxn>
                <a:cxn ang="0">
                  <a:pos x="529" y="1842"/>
                </a:cxn>
                <a:cxn ang="0">
                  <a:pos x="614" y="1829"/>
                </a:cxn>
                <a:cxn ang="0">
                  <a:pos x="421" y="1778"/>
                </a:cxn>
                <a:cxn ang="0">
                  <a:pos x="272" y="1664"/>
                </a:cxn>
                <a:cxn ang="0">
                  <a:pos x="237" y="1566"/>
                </a:cxn>
                <a:cxn ang="0">
                  <a:pos x="239" y="1432"/>
                </a:cxn>
                <a:cxn ang="0">
                  <a:pos x="315" y="1404"/>
                </a:cxn>
                <a:cxn ang="0">
                  <a:pos x="586" y="1387"/>
                </a:cxn>
                <a:cxn ang="0">
                  <a:pos x="605" y="1286"/>
                </a:cxn>
                <a:cxn ang="0">
                  <a:pos x="609" y="1223"/>
                </a:cxn>
                <a:cxn ang="0">
                  <a:pos x="630" y="1174"/>
                </a:cxn>
                <a:cxn ang="0">
                  <a:pos x="590" y="1133"/>
                </a:cxn>
                <a:cxn ang="0">
                  <a:pos x="650" y="1082"/>
                </a:cxn>
                <a:cxn ang="0">
                  <a:pos x="621" y="1018"/>
                </a:cxn>
                <a:cxn ang="0">
                  <a:pos x="704" y="959"/>
                </a:cxn>
                <a:cxn ang="0">
                  <a:pos x="639" y="841"/>
                </a:cxn>
              </a:cxnLst>
              <a:rect l="0" t="0" r="r" b="b"/>
              <a:pathLst>
                <a:path w="724" h="1845">
                  <a:moveTo>
                    <a:pt x="451" y="808"/>
                  </a:moveTo>
                  <a:lnTo>
                    <a:pt x="451" y="808"/>
                  </a:lnTo>
                  <a:cubicBezTo>
                    <a:pt x="397" y="820"/>
                    <a:pt x="315" y="783"/>
                    <a:pt x="326" y="776"/>
                  </a:cubicBezTo>
                  <a:cubicBezTo>
                    <a:pt x="353" y="757"/>
                    <a:pt x="416" y="725"/>
                    <a:pt x="477" y="746"/>
                  </a:cubicBezTo>
                  <a:cubicBezTo>
                    <a:pt x="488" y="750"/>
                    <a:pt x="492" y="760"/>
                    <a:pt x="493" y="773"/>
                  </a:cubicBezTo>
                  <a:cubicBezTo>
                    <a:pt x="496" y="804"/>
                    <a:pt x="471" y="805"/>
                    <a:pt x="451" y="808"/>
                  </a:cubicBezTo>
                  <a:lnTo>
                    <a:pt x="451" y="808"/>
                  </a:lnTo>
                  <a:close/>
                  <a:moveTo>
                    <a:pt x="639" y="841"/>
                  </a:moveTo>
                  <a:lnTo>
                    <a:pt x="639" y="841"/>
                  </a:lnTo>
                  <a:cubicBezTo>
                    <a:pt x="610" y="803"/>
                    <a:pt x="557" y="751"/>
                    <a:pt x="601" y="701"/>
                  </a:cubicBezTo>
                  <a:cubicBezTo>
                    <a:pt x="624" y="684"/>
                    <a:pt x="631" y="670"/>
                    <a:pt x="634" y="646"/>
                  </a:cubicBezTo>
                  <a:cubicBezTo>
                    <a:pt x="644" y="560"/>
                    <a:pt x="639" y="524"/>
                    <a:pt x="627" y="477"/>
                  </a:cubicBezTo>
                  <a:cubicBezTo>
                    <a:pt x="629" y="473"/>
                    <a:pt x="638" y="478"/>
                    <a:pt x="641" y="463"/>
                  </a:cubicBezTo>
                  <a:cubicBezTo>
                    <a:pt x="650" y="422"/>
                    <a:pt x="627" y="414"/>
                    <a:pt x="627" y="414"/>
                  </a:cubicBezTo>
                  <a:cubicBezTo>
                    <a:pt x="645" y="399"/>
                    <a:pt x="643" y="342"/>
                    <a:pt x="615" y="342"/>
                  </a:cubicBezTo>
                  <a:cubicBezTo>
                    <a:pt x="631" y="317"/>
                    <a:pt x="617" y="277"/>
                    <a:pt x="590" y="286"/>
                  </a:cubicBezTo>
                  <a:cubicBezTo>
                    <a:pt x="590" y="286"/>
                    <a:pt x="604" y="278"/>
                    <a:pt x="602" y="260"/>
                  </a:cubicBezTo>
                  <a:cubicBezTo>
                    <a:pt x="599" y="224"/>
                    <a:pt x="547" y="259"/>
                    <a:pt x="560" y="236"/>
                  </a:cubicBezTo>
                  <a:cubicBezTo>
                    <a:pt x="567" y="223"/>
                    <a:pt x="538" y="180"/>
                    <a:pt x="523" y="213"/>
                  </a:cubicBezTo>
                  <a:cubicBezTo>
                    <a:pt x="515" y="207"/>
                    <a:pt x="529" y="187"/>
                    <a:pt x="514" y="180"/>
                  </a:cubicBezTo>
                  <a:cubicBezTo>
                    <a:pt x="504" y="181"/>
                    <a:pt x="495" y="188"/>
                    <a:pt x="483" y="195"/>
                  </a:cubicBezTo>
                  <a:cubicBezTo>
                    <a:pt x="479" y="181"/>
                    <a:pt x="494" y="174"/>
                    <a:pt x="476" y="154"/>
                  </a:cubicBezTo>
                  <a:cubicBezTo>
                    <a:pt x="452" y="138"/>
                    <a:pt x="451" y="162"/>
                    <a:pt x="434" y="171"/>
                  </a:cubicBezTo>
                  <a:cubicBezTo>
                    <a:pt x="404" y="164"/>
                    <a:pt x="476" y="146"/>
                    <a:pt x="411" y="119"/>
                  </a:cubicBezTo>
                  <a:cubicBezTo>
                    <a:pt x="395" y="159"/>
                    <a:pt x="396" y="130"/>
                    <a:pt x="389" y="124"/>
                  </a:cubicBezTo>
                  <a:cubicBezTo>
                    <a:pt x="384" y="121"/>
                    <a:pt x="375" y="131"/>
                    <a:pt x="356" y="150"/>
                  </a:cubicBezTo>
                  <a:cubicBezTo>
                    <a:pt x="366" y="124"/>
                    <a:pt x="388" y="92"/>
                    <a:pt x="356" y="101"/>
                  </a:cubicBezTo>
                  <a:cubicBezTo>
                    <a:pt x="320" y="117"/>
                    <a:pt x="341" y="96"/>
                    <a:pt x="341" y="93"/>
                  </a:cubicBezTo>
                  <a:cubicBezTo>
                    <a:pt x="372" y="79"/>
                    <a:pt x="312" y="45"/>
                    <a:pt x="314" y="81"/>
                  </a:cubicBezTo>
                  <a:cubicBezTo>
                    <a:pt x="313" y="105"/>
                    <a:pt x="261" y="126"/>
                    <a:pt x="276" y="97"/>
                  </a:cubicBezTo>
                  <a:cubicBezTo>
                    <a:pt x="286" y="60"/>
                    <a:pt x="331" y="116"/>
                    <a:pt x="292" y="51"/>
                  </a:cubicBezTo>
                  <a:cubicBezTo>
                    <a:pt x="268" y="78"/>
                    <a:pt x="248" y="96"/>
                    <a:pt x="244" y="106"/>
                  </a:cubicBezTo>
                  <a:cubicBezTo>
                    <a:pt x="225" y="181"/>
                    <a:pt x="236" y="113"/>
                    <a:pt x="216" y="112"/>
                  </a:cubicBezTo>
                  <a:cubicBezTo>
                    <a:pt x="242" y="94"/>
                    <a:pt x="276" y="63"/>
                    <a:pt x="266" y="43"/>
                  </a:cubicBezTo>
                  <a:cubicBezTo>
                    <a:pt x="237" y="41"/>
                    <a:pt x="172" y="87"/>
                    <a:pt x="214" y="91"/>
                  </a:cubicBezTo>
                  <a:cubicBezTo>
                    <a:pt x="211" y="106"/>
                    <a:pt x="187" y="123"/>
                    <a:pt x="173" y="98"/>
                  </a:cubicBezTo>
                  <a:cubicBezTo>
                    <a:pt x="196" y="92"/>
                    <a:pt x="235" y="15"/>
                    <a:pt x="186" y="38"/>
                  </a:cubicBezTo>
                  <a:cubicBezTo>
                    <a:pt x="181" y="42"/>
                    <a:pt x="181" y="56"/>
                    <a:pt x="173" y="69"/>
                  </a:cubicBezTo>
                  <a:cubicBezTo>
                    <a:pt x="161" y="58"/>
                    <a:pt x="170" y="42"/>
                    <a:pt x="166" y="36"/>
                  </a:cubicBezTo>
                  <a:cubicBezTo>
                    <a:pt x="127" y="0"/>
                    <a:pt x="141" y="93"/>
                    <a:pt x="142" y="114"/>
                  </a:cubicBezTo>
                  <a:cubicBezTo>
                    <a:pt x="92" y="82"/>
                    <a:pt x="139" y="91"/>
                    <a:pt x="126" y="39"/>
                  </a:cubicBezTo>
                  <a:cubicBezTo>
                    <a:pt x="84" y="47"/>
                    <a:pt x="73" y="64"/>
                    <a:pt x="80" y="112"/>
                  </a:cubicBezTo>
                  <a:cubicBezTo>
                    <a:pt x="74" y="123"/>
                    <a:pt x="63" y="149"/>
                    <a:pt x="56" y="117"/>
                  </a:cubicBezTo>
                  <a:cubicBezTo>
                    <a:pt x="79" y="87"/>
                    <a:pt x="77" y="44"/>
                    <a:pt x="37" y="43"/>
                  </a:cubicBezTo>
                  <a:cubicBezTo>
                    <a:pt x="101" y="631"/>
                    <a:pt x="97" y="1225"/>
                    <a:pt x="5" y="1808"/>
                  </a:cubicBezTo>
                  <a:lnTo>
                    <a:pt x="0" y="1840"/>
                  </a:lnTo>
                  <a:cubicBezTo>
                    <a:pt x="46" y="1839"/>
                    <a:pt x="113" y="1825"/>
                    <a:pt x="162" y="1823"/>
                  </a:cubicBezTo>
                  <a:cubicBezTo>
                    <a:pt x="301" y="1827"/>
                    <a:pt x="298" y="1845"/>
                    <a:pt x="529" y="1842"/>
                  </a:cubicBezTo>
                  <a:cubicBezTo>
                    <a:pt x="582" y="1837"/>
                    <a:pt x="597" y="1829"/>
                    <a:pt x="614" y="1829"/>
                  </a:cubicBezTo>
                  <a:cubicBezTo>
                    <a:pt x="597" y="1758"/>
                    <a:pt x="481" y="1798"/>
                    <a:pt x="421" y="1778"/>
                  </a:cubicBezTo>
                  <a:cubicBezTo>
                    <a:pt x="321" y="1768"/>
                    <a:pt x="304" y="1708"/>
                    <a:pt x="272" y="1664"/>
                  </a:cubicBezTo>
                  <a:cubicBezTo>
                    <a:pt x="258" y="1639"/>
                    <a:pt x="237" y="1608"/>
                    <a:pt x="237" y="1566"/>
                  </a:cubicBezTo>
                  <a:cubicBezTo>
                    <a:pt x="230" y="1513"/>
                    <a:pt x="240" y="1484"/>
                    <a:pt x="239" y="1432"/>
                  </a:cubicBezTo>
                  <a:cubicBezTo>
                    <a:pt x="243" y="1393"/>
                    <a:pt x="287" y="1401"/>
                    <a:pt x="315" y="1404"/>
                  </a:cubicBezTo>
                  <a:cubicBezTo>
                    <a:pt x="402" y="1413"/>
                    <a:pt x="547" y="1399"/>
                    <a:pt x="586" y="1387"/>
                  </a:cubicBezTo>
                  <a:cubicBezTo>
                    <a:pt x="641" y="1371"/>
                    <a:pt x="642" y="1337"/>
                    <a:pt x="605" y="1286"/>
                  </a:cubicBezTo>
                  <a:cubicBezTo>
                    <a:pt x="597" y="1261"/>
                    <a:pt x="598" y="1245"/>
                    <a:pt x="609" y="1223"/>
                  </a:cubicBezTo>
                  <a:cubicBezTo>
                    <a:pt x="625" y="1206"/>
                    <a:pt x="644" y="1195"/>
                    <a:pt x="630" y="1174"/>
                  </a:cubicBezTo>
                  <a:cubicBezTo>
                    <a:pt x="630" y="1174"/>
                    <a:pt x="504" y="1147"/>
                    <a:pt x="590" y="1133"/>
                  </a:cubicBezTo>
                  <a:cubicBezTo>
                    <a:pt x="679" y="1118"/>
                    <a:pt x="650" y="1082"/>
                    <a:pt x="650" y="1082"/>
                  </a:cubicBezTo>
                  <a:cubicBezTo>
                    <a:pt x="650" y="1082"/>
                    <a:pt x="635" y="1045"/>
                    <a:pt x="621" y="1018"/>
                  </a:cubicBezTo>
                  <a:cubicBezTo>
                    <a:pt x="611" y="998"/>
                    <a:pt x="695" y="991"/>
                    <a:pt x="704" y="959"/>
                  </a:cubicBezTo>
                  <a:cubicBezTo>
                    <a:pt x="724" y="932"/>
                    <a:pt x="661" y="871"/>
                    <a:pt x="639" y="841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6" name="Freeform 14"/>
            <p:cNvSpPr>
              <a:spLocks noChangeAspect="1"/>
            </p:cNvSpPr>
            <p:nvPr/>
          </p:nvSpPr>
          <p:spPr bwMode="gray">
            <a:xfrm>
              <a:off x="1352" y="681"/>
              <a:ext cx="1829" cy="3153"/>
            </a:xfrm>
            <a:custGeom>
              <a:avLst/>
              <a:gdLst/>
              <a:ahLst/>
              <a:cxnLst>
                <a:cxn ang="0">
                  <a:pos x="1974" y="2106"/>
                </a:cxn>
                <a:cxn ang="0">
                  <a:pos x="0" y="3449"/>
                </a:cxn>
                <a:cxn ang="0">
                  <a:pos x="1972" y="0"/>
                </a:cxn>
                <a:cxn ang="0">
                  <a:pos x="1980" y="347"/>
                </a:cxn>
                <a:cxn ang="0">
                  <a:pos x="1982" y="392"/>
                </a:cxn>
                <a:cxn ang="0">
                  <a:pos x="1923" y="324"/>
                </a:cxn>
                <a:cxn ang="0">
                  <a:pos x="1878" y="384"/>
                </a:cxn>
                <a:cxn ang="0">
                  <a:pos x="1858" y="411"/>
                </a:cxn>
                <a:cxn ang="0">
                  <a:pos x="1823" y="348"/>
                </a:cxn>
                <a:cxn ang="0">
                  <a:pos x="1766" y="359"/>
                </a:cxn>
                <a:cxn ang="0">
                  <a:pos x="1702" y="494"/>
                </a:cxn>
                <a:cxn ang="0">
                  <a:pos x="1680" y="420"/>
                </a:cxn>
                <a:cxn ang="0">
                  <a:pos x="1605" y="427"/>
                </a:cxn>
                <a:cxn ang="0">
                  <a:pos x="1609" y="499"/>
                </a:cxn>
                <a:cxn ang="0">
                  <a:pos x="1520" y="498"/>
                </a:cxn>
                <a:cxn ang="0">
                  <a:pos x="1513" y="560"/>
                </a:cxn>
                <a:cxn ang="0">
                  <a:pos x="1407" y="521"/>
                </a:cxn>
                <a:cxn ang="0">
                  <a:pos x="1521" y="578"/>
                </a:cxn>
                <a:cxn ang="0">
                  <a:pos x="1453" y="612"/>
                </a:cxn>
                <a:cxn ang="0">
                  <a:pos x="1441" y="603"/>
                </a:cxn>
                <a:cxn ang="0">
                  <a:pos x="1404" y="640"/>
                </a:cxn>
                <a:cxn ang="0">
                  <a:pos x="1448" y="632"/>
                </a:cxn>
                <a:cxn ang="0">
                  <a:pos x="1433" y="703"/>
                </a:cxn>
                <a:cxn ang="0">
                  <a:pos x="1392" y="719"/>
                </a:cxn>
                <a:cxn ang="0">
                  <a:pos x="1410" y="785"/>
                </a:cxn>
                <a:cxn ang="0">
                  <a:pos x="1321" y="761"/>
                </a:cxn>
                <a:cxn ang="0">
                  <a:pos x="1255" y="760"/>
                </a:cxn>
                <a:cxn ang="0">
                  <a:pos x="1205" y="829"/>
                </a:cxn>
                <a:cxn ang="0">
                  <a:pos x="1350" y="845"/>
                </a:cxn>
                <a:cxn ang="0">
                  <a:pos x="1308" y="881"/>
                </a:cxn>
                <a:cxn ang="0">
                  <a:pos x="1308" y="953"/>
                </a:cxn>
                <a:cxn ang="0">
                  <a:pos x="1358" y="951"/>
                </a:cxn>
                <a:cxn ang="0">
                  <a:pos x="1319" y="1061"/>
                </a:cxn>
                <a:cxn ang="0">
                  <a:pos x="1324" y="1115"/>
                </a:cxn>
                <a:cxn ang="0">
                  <a:pos x="1283" y="1185"/>
                </a:cxn>
                <a:cxn ang="0">
                  <a:pos x="1257" y="1226"/>
                </a:cxn>
                <a:cxn ang="0">
                  <a:pos x="1285" y="1267"/>
                </a:cxn>
                <a:cxn ang="0">
                  <a:pos x="1314" y="1311"/>
                </a:cxn>
                <a:cxn ang="0">
                  <a:pos x="1363" y="1376"/>
                </a:cxn>
                <a:cxn ang="0">
                  <a:pos x="1438" y="1413"/>
                </a:cxn>
                <a:cxn ang="0">
                  <a:pos x="1494" y="1379"/>
                </a:cxn>
                <a:cxn ang="0">
                  <a:pos x="1513" y="1471"/>
                </a:cxn>
                <a:cxn ang="0">
                  <a:pos x="1605" y="1474"/>
                </a:cxn>
                <a:cxn ang="0">
                  <a:pos x="1584" y="1525"/>
                </a:cxn>
                <a:cxn ang="0">
                  <a:pos x="1618" y="1559"/>
                </a:cxn>
                <a:cxn ang="0">
                  <a:pos x="1644" y="1602"/>
                </a:cxn>
                <a:cxn ang="0">
                  <a:pos x="1700" y="1594"/>
                </a:cxn>
                <a:cxn ang="0">
                  <a:pos x="1729" y="1535"/>
                </a:cxn>
                <a:cxn ang="0">
                  <a:pos x="1794" y="1574"/>
                </a:cxn>
                <a:cxn ang="0">
                  <a:pos x="1808" y="1711"/>
                </a:cxn>
                <a:cxn ang="0">
                  <a:pos x="1870" y="1688"/>
                </a:cxn>
                <a:cxn ang="0">
                  <a:pos x="1839" y="1844"/>
                </a:cxn>
                <a:cxn ang="0">
                  <a:pos x="1446" y="2092"/>
                </a:cxn>
                <a:cxn ang="0">
                  <a:pos x="1654" y="2103"/>
                </a:cxn>
                <a:cxn ang="0">
                  <a:pos x="1974" y="2105"/>
                </a:cxn>
              </a:cxnLst>
              <a:rect l="0" t="0" r="r" b="b"/>
              <a:pathLst>
                <a:path w="2011" h="3449">
                  <a:moveTo>
                    <a:pt x="1974" y="2106"/>
                  </a:moveTo>
                  <a:lnTo>
                    <a:pt x="1974" y="2106"/>
                  </a:lnTo>
                  <a:cubicBezTo>
                    <a:pt x="1903" y="2543"/>
                    <a:pt x="1782" y="2987"/>
                    <a:pt x="1602" y="3449"/>
                  </a:cubicBezTo>
                  <a:lnTo>
                    <a:pt x="0" y="3449"/>
                  </a:lnTo>
                  <a:lnTo>
                    <a:pt x="0" y="0"/>
                  </a:lnTo>
                  <a:lnTo>
                    <a:pt x="1972" y="0"/>
                  </a:lnTo>
                  <a:cubicBezTo>
                    <a:pt x="1988" y="113"/>
                    <a:pt x="1999" y="197"/>
                    <a:pt x="2011" y="309"/>
                  </a:cubicBezTo>
                  <a:cubicBezTo>
                    <a:pt x="2011" y="309"/>
                    <a:pt x="1977" y="320"/>
                    <a:pt x="1980" y="347"/>
                  </a:cubicBezTo>
                  <a:cubicBezTo>
                    <a:pt x="1984" y="378"/>
                    <a:pt x="1997" y="385"/>
                    <a:pt x="1997" y="385"/>
                  </a:cubicBezTo>
                  <a:lnTo>
                    <a:pt x="1982" y="392"/>
                  </a:lnTo>
                  <a:cubicBezTo>
                    <a:pt x="1982" y="392"/>
                    <a:pt x="1966" y="368"/>
                    <a:pt x="1966" y="369"/>
                  </a:cubicBezTo>
                  <a:cubicBezTo>
                    <a:pt x="1966" y="346"/>
                    <a:pt x="1976" y="311"/>
                    <a:pt x="1923" y="324"/>
                  </a:cubicBezTo>
                  <a:cubicBezTo>
                    <a:pt x="1904" y="365"/>
                    <a:pt x="1952" y="373"/>
                    <a:pt x="1939" y="401"/>
                  </a:cubicBezTo>
                  <a:cubicBezTo>
                    <a:pt x="1883" y="404"/>
                    <a:pt x="1923" y="359"/>
                    <a:pt x="1878" y="384"/>
                  </a:cubicBezTo>
                  <a:cubicBezTo>
                    <a:pt x="1881" y="371"/>
                    <a:pt x="1871" y="336"/>
                    <a:pt x="1857" y="339"/>
                  </a:cubicBezTo>
                  <a:cubicBezTo>
                    <a:pt x="1851" y="358"/>
                    <a:pt x="1836" y="391"/>
                    <a:pt x="1858" y="411"/>
                  </a:cubicBezTo>
                  <a:cubicBezTo>
                    <a:pt x="1851" y="416"/>
                    <a:pt x="1830" y="413"/>
                    <a:pt x="1825" y="406"/>
                  </a:cubicBezTo>
                  <a:cubicBezTo>
                    <a:pt x="1819" y="396"/>
                    <a:pt x="1840" y="379"/>
                    <a:pt x="1823" y="348"/>
                  </a:cubicBezTo>
                  <a:cubicBezTo>
                    <a:pt x="1771" y="371"/>
                    <a:pt x="1819" y="421"/>
                    <a:pt x="1776" y="440"/>
                  </a:cubicBezTo>
                  <a:cubicBezTo>
                    <a:pt x="1729" y="434"/>
                    <a:pt x="1803" y="394"/>
                    <a:pt x="1766" y="359"/>
                  </a:cubicBezTo>
                  <a:cubicBezTo>
                    <a:pt x="1723" y="369"/>
                    <a:pt x="1707" y="413"/>
                    <a:pt x="1724" y="439"/>
                  </a:cubicBezTo>
                  <a:cubicBezTo>
                    <a:pt x="1723" y="462"/>
                    <a:pt x="1705" y="474"/>
                    <a:pt x="1702" y="494"/>
                  </a:cubicBezTo>
                  <a:cubicBezTo>
                    <a:pt x="1681" y="491"/>
                    <a:pt x="1672" y="483"/>
                    <a:pt x="1670" y="475"/>
                  </a:cubicBezTo>
                  <a:cubicBezTo>
                    <a:pt x="1667" y="460"/>
                    <a:pt x="1708" y="453"/>
                    <a:pt x="1680" y="420"/>
                  </a:cubicBezTo>
                  <a:cubicBezTo>
                    <a:pt x="1635" y="427"/>
                    <a:pt x="1665" y="500"/>
                    <a:pt x="1629" y="461"/>
                  </a:cubicBezTo>
                  <a:cubicBezTo>
                    <a:pt x="1626" y="444"/>
                    <a:pt x="1614" y="429"/>
                    <a:pt x="1605" y="427"/>
                  </a:cubicBezTo>
                  <a:cubicBezTo>
                    <a:pt x="1588" y="439"/>
                    <a:pt x="1580" y="459"/>
                    <a:pt x="1591" y="476"/>
                  </a:cubicBezTo>
                  <a:lnTo>
                    <a:pt x="1609" y="499"/>
                  </a:lnTo>
                  <a:cubicBezTo>
                    <a:pt x="1607" y="499"/>
                    <a:pt x="1617" y="513"/>
                    <a:pt x="1615" y="512"/>
                  </a:cubicBezTo>
                  <a:cubicBezTo>
                    <a:pt x="1585" y="488"/>
                    <a:pt x="1545" y="471"/>
                    <a:pt x="1520" y="498"/>
                  </a:cubicBezTo>
                  <a:cubicBezTo>
                    <a:pt x="1523" y="523"/>
                    <a:pt x="1545" y="525"/>
                    <a:pt x="1579" y="533"/>
                  </a:cubicBezTo>
                  <a:cubicBezTo>
                    <a:pt x="1536" y="537"/>
                    <a:pt x="1527" y="552"/>
                    <a:pt x="1513" y="560"/>
                  </a:cubicBezTo>
                  <a:cubicBezTo>
                    <a:pt x="1508" y="532"/>
                    <a:pt x="1475" y="527"/>
                    <a:pt x="1444" y="523"/>
                  </a:cubicBezTo>
                  <a:cubicBezTo>
                    <a:pt x="1426" y="527"/>
                    <a:pt x="1415" y="515"/>
                    <a:pt x="1407" y="521"/>
                  </a:cubicBezTo>
                  <a:cubicBezTo>
                    <a:pt x="1420" y="553"/>
                    <a:pt x="1451" y="578"/>
                    <a:pt x="1490" y="586"/>
                  </a:cubicBezTo>
                  <a:cubicBezTo>
                    <a:pt x="1507" y="584"/>
                    <a:pt x="1509" y="584"/>
                    <a:pt x="1521" y="578"/>
                  </a:cubicBezTo>
                  <a:cubicBezTo>
                    <a:pt x="1544" y="588"/>
                    <a:pt x="1542" y="592"/>
                    <a:pt x="1548" y="608"/>
                  </a:cubicBezTo>
                  <a:cubicBezTo>
                    <a:pt x="1514" y="623"/>
                    <a:pt x="1487" y="604"/>
                    <a:pt x="1453" y="612"/>
                  </a:cubicBezTo>
                  <a:cubicBezTo>
                    <a:pt x="1453" y="614"/>
                    <a:pt x="1445" y="614"/>
                    <a:pt x="1444" y="611"/>
                  </a:cubicBezTo>
                  <a:cubicBezTo>
                    <a:pt x="1445" y="611"/>
                    <a:pt x="1440" y="603"/>
                    <a:pt x="1441" y="603"/>
                  </a:cubicBezTo>
                  <a:cubicBezTo>
                    <a:pt x="1426" y="575"/>
                    <a:pt x="1387" y="586"/>
                    <a:pt x="1366" y="592"/>
                  </a:cubicBezTo>
                  <a:cubicBezTo>
                    <a:pt x="1363" y="614"/>
                    <a:pt x="1386" y="632"/>
                    <a:pt x="1404" y="640"/>
                  </a:cubicBezTo>
                  <a:cubicBezTo>
                    <a:pt x="1429" y="649"/>
                    <a:pt x="1438" y="641"/>
                    <a:pt x="1438" y="641"/>
                  </a:cubicBezTo>
                  <a:lnTo>
                    <a:pt x="1448" y="632"/>
                  </a:lnTo>
                  <a:cubicBezTo>
                    <a:pt x="1459" y="672"/>
                    <a:pt x="1473" y="674"/>
                    <a:pt x="1494" y="690"/>
                  </a:cubicBezTo>
                  <a:cubicBezTo>
                    <a:pt x="1471" y="698"/>
                    <a:pt x="1462" y="705"/>
                    <a:pt x="1433" y="703"/>
                  </a:cubicBezTo>
                  <a:cubicBezTo>
                    <a:pt x="1400" y="652"/>
                    <a:pt x="1301" y="630"/>
                    <a:pt x="1305" y="654"/>
                  </a:cubicBezTo>
                  <a:cubicBezTo>
                    <a:pt x="1319" y="706"/>
                    <a:pt x="1392" y="719"/>
                    <a:pt x="1392" y="719"/>
                  </a:cubicBezTo>
                  <a:cubicBezTo>
                    <a:pt x="1392" y="719"/>
                    <a:pt x="1354" y="733"/>
                    <a:pt x="1360" y="746"/>
                  </a:cubicBezTo>
                  <a:cubicBezTo>
                    <a:pt x="1367" y="758"/>
                    <a:pt x="1417" y="766"/>
                    <a:pt x="1410" y="785"/>
                  </a:cubicBezTo>
                  <a:cubicBezTo>
                    <a:pt x="1358" y="762"/>
                    <a:pt x="1348" y="771"/>
                    <a:pt x="1383" y="817"/>
                  </a:cubicBezTo>
                  <a:cubicBezTo>
                    <a:pt x="1339" y="819"/>
                    <a:pt x="1349" y="772"/>
                    <a:pt x="1321" y="761"/>
                  </a:cubicBezTo>
                  <a:cubicBezTo>
                    <a:pt x="1301" y="775"/>
                    <a:pt x="1313" y="806"/>
                    <a:pt x="1313" y="806"/>
                  </a:cubicBezTo>
                  <a:cubicBezTo>
                    <a:pt x="1303" y="798"/>
                    <a:pt x="1277" y="754"/>
                    <a:pt x="1255" y="760"/>
                  </a:cubicBezTo>
                  <a:cubicBezTo>
                    <a:pt x="1248" y="765"/>
                    <a:pt x="1248" y="789"/>
                    <a:pt x="1265" y="805"/>
                  </a:cubicBezTo>
                  <a:cubicBezTo>
                    <a:pt x="1244" y="809"/>
                    <a:pt x="1210" y="806"/>
                    <a:pt x="1205" y="829"/>
                  </a:cubicBezTo>
                  <a:cubicBezTo>
                    <a:pt x="1239" y="855"/>
                    <a:pt x="1276" y="855"/>
                    <a:pt x="1329" y="849"/>
                  </a:cubicBezTo>
                  <a:cubicBezTo>
                    <a:pt x="1329" y="849"/>
                    <a:pt x="1339" y="848"/>
                    <a:pt x="1350" y="845"/>
                  </a:cubicBezTo>
                  <a:cubicBezTo>
                    <a:pt x="1360" y="842"/>
                    <a:pt x="1375" y="856"/>
                    <a:pt x="1375" y="856"/>
                  </a:cubicBezTo>
                  <a:cubicBezTo>
                    <a:pt x="1349" y="862"/>
                    <a:pt x="1360" y="870"/>
                    <a:pt x="1308" y="881"/>
                  </a:cubicBezTo>
                  <a:cubicBezTo>
                    <a:pt x="1274" y="897"/>
                    <a:pt x="1247" y="918"/>
                    <a:pt x="1247" y="953"/>
                  </a:cubicBezTo>
                  <a:cubicBezTo>
                    <a:pt x="1268" y="963"/>
                    <a:pt x="1294" y="973"/>
                    <a:pt x="1308" y="953"/>
                  </a:cubicBezTo>
                  <a:cubicBezTo>
                    <a:pt x="1331" y="920"/>
                    <a:pt x="1324" y="946"/>
                    <a:pt x="1340" y="945"/>
                  </a:cubicBezTo>
                  <a:lnTo>
                    <a:pt x="1358" y="951"/>
                  </a:lnTo>
                  <a:cubicBezTo>
                    <a:pt x="1344" y="986"/>
                    <a:pt x="1264" y="985"/>
                    <a:pt x="1279" y="1011"/>
                  </a:cubicBezTo>
                  <a:cubicBezTo>
                    <a:pt x="1295" y="1035"/>
                    <a:pt x="1319" y="1061"/>
                    <a:pt x="1319" y="1061"/>
                  </a:cubicBezTo>
                  <a:cubicBezTo>
                    <a:pt x="1319" y="1061"/>
                    <a:pt x="1263" y="1032"/>
                    <a:pt x="1247" y="1053"/>
                  </a:cubicBezTo>
                  <a:cubicBezTo>
                    <a:pt x="1232" y="1071"/>
                    <a:pt x="1265" y="1102"/>
                    <a:pt x="1324" y="1115"/>
                  </a:cubicBezTo>
                  <a:cubicBezTo>
                    <a:pt x="1304" y="1128"/>
                    <a:pt x="1233" y="1115"/>
                    <a:pt x="1276" y="1160"/>
                  </a:cubicBezTo>
                  <a:cubicBezTo>
                    <a:pt x="1225" y="1181"/>
                    <a:pt x="1242" y="1196"/>
                    <a:pt x="1283" y="1185"/>
                  </a:cubicBezTo>
                  <a:lnTo>
                    <a:pt x="1303" y="1188"/>
                  </a:lnTo>
                  <a:cubicBezTo>
                    <a:pt x="1291" y="1196"/>
                    <a:pt x="1254" y="1213"/>
                    <a:pt x="1257" y="1226"/>
                  </a:cubicBezTo>
                  <a:cubicBezTo>
                    <a:pt x="1259" y="1243"/>
                    <a:pt x="1300" y="1222"/>
                    <a:pt x="1307" y="1235"/>
                  </a:cubicBezTo>
                  <a:cubicBezTo>
                    <a:pt x="1310" y="1254"/>
                    <a:pt x="1287" y="1262"/>
                    <a:pt x="1285" y="1267"/>
                  </a:cubicBezTo>
                  <a:cubicBezTo>
                    <a:pt x="1314" y="1286"/>
                    <a:pt x="1331" y="1241"/>
                    <a:pt x="1358" y="1267"/>
                  </a:cubicBezTo>
                  <a:cubicBezTo>
                    <a:pt x="1348" y="1286"/>
                    <a:pt x="1305" y="1282"/>
                    <a:pt x="1314" y="1311"/>
                  </a:cubicBezTo>
                  <a:cubicBezTo>
                    <a:pt x="1330" y="1323"/>
                    <a:pt x="1357" y="1318"/>
                    <a:pt x="1373" y="1329"/>
                  </a:cubicBezTo>
                  <a:cubicBezTo>
                    <a:pt x="1373" y="1329"/>
                    <a:pt x="1351" y="1371"/>
                    <a:pt x="1363" y="1376"/>
                  </a:cubicBezTo>
                  <a:cubicBezTo>
                    <a:pt x="1386" y="1388"/>
                    <a:pt x="1408" y="1351"/>
                    <a:pt x="1416" y="1349"/>
                  </a:cubicBezTo>
                  <a:cubicBezTo>
                    <a:pt x="1410" y="1396"/>
                    <a:pt x="1450" y="1380"/>
                    <a:pt x="1438" y="1413"/>
                  </a:cubicBezTo>
                  <a:cubicBezTo>
                    <a:pt x="1438" y="1430"/>
                    <a:pt x="1436" y="1454"/>
                    <a:pt x="1454" y="1463"/>
                  </a:cubicBezTo>
                  <a:cubicBezTo>
                    <a:pt x="1491" y="1452"/>
                    <a:pt x="1495" y="1423"/>
                    <a:pt x="1494" y="1379"/>
                  </a:cubicBezTo>
                  <a:cubicBezTo>
                    <a:pt x="1494" y="1364"/>
                    <a:pt x="1537" y="1389"/>
                    <a:pt x="1537" y="1389"/>
                  </a:cubicBezTo>
                  <a:cubicBezTo>
                    <a:pt x="1563" y="1410"/>
                    <a:pt x="1492" y="1426"/>
                    <a:pt x="1513" y="1471"/>
                  </a:cubicBezTo>
                  <a:cubicBezTo>
                    <a:pt x="1573" y="1479"/>
                    <a:pt x="1573" y="1428"/>
                    <a:pt x="1621" y="1419"/>
                  </a:cubicBezTo>
                  <a:cubicBezTo>
                    <a:pt x="1643" y="1433"/>
                    <a:pt x="1612" y="1457"/>
                    <a:pt x="1605" y="1474"/>
                  </a:cubicBezTo>
                  <a:cubicBezTo>
                    <a:pt x="1575" y="1491"/>
                    <a:pt x="1538" y="1471"/>
                    <a:pt x="1509" y="1530"/>
                  </a:cubicBezTo>
                  <a:cubicBezTo>
                    <a:pt x="1551" y="1546"/>
                    <a:pt x="1570" y="1533"/>
                    <a:pt x="1584" y="1525"/>
                  </a:cubicBezTo>
                  <a:cubicBezTo>
                    <a:pt x="1597" y="1516"/>
                    <a:pt x="1596" y="1511"/>
                    <a:pt x="1606" y="1507"/>
                  </a:cubicBezTo>
                  <a:cubicBezTo>
                    <a:pt x="1607" y="1523"/>
                    <a:pt x="1603" y="1553"/>
                    <a:pt x="1618" y="1559"/>
                  </a:cubicBezTo>
                  <a:cubicBezTo>
                    <a:pt x="1632" y="1558"/>
                    <a:pt x="1633" y="1553"/>
                    <a:pt x="1645" y="1546"/>
                  </a:cubicBezTo>
                  <a:cubicBezTo>
                    <a:pt x="1657" y="1558"/>
                    <a:pt x="1626" y="1589"/>
                    <a:pt x="1644" y="1602"/>
                  </a:cubicBezTo>
                  <a:cubicBezTo>
                    <a:pt x="1661" y="1599"/>
                    <a:pt x="1667" y="1583"/>
                    <a:pt x="1667" y="1583"/>
                  </a:cubicBezTo>
                  <a:cubicBezTo>
                    <a:pt x="1677" y="1597"/>
                    <a:pt x="1689" y="1597"/>
                    <a:pt x="1700" y="1594"/>
                  </a:cubicBezTo>
                  <a:cubicBezTo>
                    <a:pt x="1706" y="1579"/>
                    <a:pt x="1707" y="1545"/>
                    <a:pt x="1688" y="1533"/>
                  </a:cubicBezTo>
                  <a:cubicBezTo>
                    <a:pt x="1697" y="1522"/>
                    <a:pt x="1720" y="1543"/>
                    <a:pt x="1729" y="1535"/>
                  </a:cubicBezTo>
                  <a:cubicBezTo>
                    <a:pt x="1748" y="1557"/>
                    <a:pt x="1707" y="1600"/>
                    <a:pt x="1737" y="1618"/>
                  </a:cubicBezTo>
                  <a:cubicBezTo>
                    <a:pt x="1766" y="1615"/>
                    <a:pt x="1765" y="1586"/>
                    <a:pt x="1794" y="1574"/>
                  </a:cubicBezTo>
                  <a:cubicBezTo>
                    <a:pt x="1789" y="1604"/>
                    <a:pt x="1824" y="1626"/>
                    <a:pt x="1779" y="1648"/>
                  </a:cubicBezTo>
                  <a:cubicBezTo>
                    <a:pt x="1779" y="1677"/>
                    <a:pt x="1834" y="1669"/>
                    <a:pt x="1808" y="1711"/>
                  </a:cubicBezTo>
                  <a:cubicBezTo>
                    <a:pt x="1818" y="1728"/>
                    <a:pt x="1831" y="1721"/>
                    <a:pt x="1843" y="1718"/>
                  </a:cubicBezTo>
                  <a:lnTo>
                    <a:pt x="1870" y="1688"/>
                  </a:lnTo>
                  <a:cubicBezTo>
                    <a:pt x="1862" y="1712"/>
                    <a:pt x="1860" y="1750"/>
                    <a:pt x="1867" y="1777"/>
                  </a:cubicBezTo>
                  <a:cubicBezTo>
                    <a:pt x="1858" y="1800"/>
                    <a:pt x="1879" y="1825"/>
                    <a:pt x="1839" y="1844"/>
                  </a:cubicBezTo>
                  <a:cubicBezTo>
                    <a:pt x="1828" y="1900"/>
                    <a:pt x="1827" y="1956"/>
                    <a:pt x="1763" y="1992"/>
                  </a:cubicBezTo>
                  <a:cubicBezTo>
                    <a:pt x="1726" y="2060"/>
                    <a:pt x="1497" y="2024"/>
                    <a:pt x="1446" y="2092"/>
                  </a:cubicBezTo>
                  <a:cubicBezTo>
                    <a:pt x="1459" y="2104"/>
                    <a:pt x="1576" y="2100"/>
                    <a:pt x="1591" y="2096"/>
                  </a:cubicBezTo>
                  <a:cubicBezTo>
                    <a:pt x="1613" y="2085"/>
                    <a:pt x="1631" y="2104"/>
                    <a:pt x="1654" y="2103"/>
                  </a:cubicBezTo>
                  <a:cubicBezTo>
                    <a:pt x="1705" y="2103"/>
                    <a:pt x="1767" y="2086"/>
                    <a:pt x="1809" y="2103"/>
                  </a:cubicBezTo>
                  <a:cubicBezTo>
                    <a:pt x="1869" y="2103"/>
                    <a:pt x="1920" y="2105"/>
                    <a:pt x="1974" y="2105"/>
                  </a:cubicBezTo>
                  <a:lnTo>
                    <a:pt x="1974" y="2106"/>
                  </a:ln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7" name="Freeform 15"/>
            <p:cNvSpPr>
              <a:spLocks noChangeAspect="1" noEditPoints="1"/>
            </p:cNvSpPr>
            <p:nvPr/>
          </p:nvSpPr>
          <p:spPr bwMode="gray">
            <a:xfrm>
              <a:off x="3235" y="2758"/>
              <a:ext cx="581" cy="570"/>
            </a:xfrm>
            <a:custGeom>
              <a:avLst/>
              <a:gdLst/>
              <a:ahLst/>
              <a:cxnLst>
                <a:cxn ang="0">
                  <a:pos x="321" y="621"/>
                </a:cxn>
                <a:cxn ang="0">
                  <a:pos x="321" y="621"/>
                </a:cxn>
                <a:cxn ang="0">
                  <a:pos x="639" y="307"/>
                </a:cxn>
                <a:cxn ang="0">
                  <a:pos x="321" y="0"/>
                </a:cxn>
                <a:cxn ang="0">
                  <a:pos x="0" y="307"/>
                </a:cxn>
                <a:cxn ang="0">
                  <a:pos x="321" y="621"/>
                </a:cxn>
                <a:cxn ang="0">
                  <a:pos x="321" y="621"/>
                </a:cxn>
                <a:cxn ang="0">
                  <a:pos x="162" y="307"/>
                </a:cxn>
                <a:cxn ang="0">
                  <a:pos x="162" y="307"/>
                </a:cxn>
                <a:cxn ang="0">
                  <a:pos x="321" y="125"/>
                </a:cxn>
                <a:cxn ang="0">
                  <a:pos x="477" y="307"/>
                </a:cxn>
                <a:cxn ang="0">
                  <a:pos x="321" y="495"/>
                </a:cxn>
                <a:cxn ang="0">
                  <a:pos x="162" y="307"/>
                </a:cxn>
              </a:cxnLst>
              <a:rect l="0" t="0" r="r" b="b"/>
              <a:pathLst>
                <a:path w="639" h="621">
                  <a:moveTo>
                    <a:pt x="321" y="621"/>
                  </a:moveTo>
                  <a:lnTo>
                    <a:pt x="321" y="621"/>
                  </a:lnTo>
                  <a:cubicBezTo>
                    <a:pt x="512" y="621"/>
                    <a:pt x="639" y="480"/>
                    <a:pt x="639" y="307"/>
                  </a:cubicBezTo>
                  <a:cubicBezTo>
                    <a:pt x="639" y="124"/>
                    <a:pt x="511" y="0"/>
                    <a:pt x="321" y="0"/>
                  </a:cubicBezTo>
                  <a:cubicBezTo>
                    <a:pt x="130" y="0"/>
                    <a:pt x="0" y="121"/>
                    <a:pt x="0" y="307"/>
                  </a:cubicBezTo>
                  <a:cubicBezTo>
                    <a:pt x="0" y="489"/>
                    <a:pt x="132" y="621"/>
                    <a:pt x="321" y="621"/>
                  </a:cubicBezTo>
                  <a:lnTo>
                    <a:pt x="321" y="621"/>
                  </a:lnTo>
                  <a:close/>
                  <a:moveTo>
                    <a:pt x="162" y="307"/>
                  </a:moveTo>
                  <a:lnTo>
                    <a:pt x="162" y="307"/>
                  </a:lnTo>
                  <a:cubicBezTo>
                    <a:pt x="162" y="198"/>
                    <a:pt x="214" y="125"/>
                    <a:pt x="321" y="125"/>
                  </a:cubicBezTo>
                  <a:cubicBezTo>
                    <a:pt x="425" y="125"/>
                    <a:pt x="477" y="192"/>
                    <a:pt x="477" y="307"/>
                  </a:cubicBezTo>
                  <a:cubicBezTo>
                    <a:pt x="477" y="413"/>
                    <a:pt x="426" y="495"/>
                    <a:pt x="321" y="495"/>
                  </a:cubicBezTo>
                  <a:cubicBezTo>
                    <a:pt x="220" y="495"/>
                    <a:pt x="162" y="415"/>
                    <a:pt x="162" y="307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" name="Freeform 16"/>
            <p:cNvSpPr>
              <a:spLocks noChangeAspect="1"/>
            </p:cNvSpPr>
            <p:nvPr/>
          </p:nvSpPr>
          <p:spPr bwMode="gray">
            <a:xfrm>
              <a:off x="3892" y="2758"/>
              <a:ext cx="409" cy="570"/>
            </a:xfrm>
            <a:custGeom>
              <a:avLst/>
              <a:gdLst/>
              <a:ahLst/>
              <a:cxnLst>
                <a:cxn ang="0">
                  <a:pos x="377" y="128"/>
                </a:cxn>
                <a:cxn ang="0">
                  <a:pos x="377" y="128"/>
                </a:cxn>
                <a:cxn ang="0">
                  <a:pos x="270" y="114"/>
                </a:cxn>
                <a:cxn ang="0">
                  <a:pos x="163" y="160"/>
                </a:cxn>
                <a:cxn ang="0">
                  <a:pos x="290" y="260"/>
                </a:cxn>
                <a:cxn ang="0">
                  <a:pos x="441" y="443"/>
                </a:cxn>
                <a:cxn ang="0">
                  <a:pos x="187" y="621"/>
                </a:cxn>
                <a:cxn ang="0">
                  <a:pos x="11" y="594"/>
                </a:cxn>
                <a:cxn ang="0">
                  <a:pos x="11" y="469"/>
                </a:cxn>
                <a:cxn ang="0">
                  <a:pos x="193" y="506"/>
                </a:cxn>
                <a:cxn ang="0">
                  <a:pos x="279" y="448"/>
                </a:cxn>
                <a:cxn ang="0">
                  <a:pos x="153" y="349"/>
                </a:cxn>
                <a:cxn ang="0">
                  <a:pos x="0" y="160"/>
                </a:cxn>
                <a:cxn ang="0">
                  <a:pos x="243" y="0"/>
                </a:cxn>
                <a:cxn ang="0">
                  <a:pos x="377" y="10"/>
                </a:cxn>
                <a:cxn ang="0">
                  <a:pos x="377" y="128"/>
                </a:cxn>
              </a:cxnLst>
              <a:rect l="0" t="0" r="r" b="b"/>
              <a:pathLst>
                <a:path w="441" h="621">
                  <a:moveTo>
                    <a:pt x="377" y="128"/>
                  </a:moveTo>
                  <a:lnTo>
                    <a:pt x="377" y="128"/>
                  </a:lnTo>
                  <a:cubicBezTo>
                    <a:pt x="341" y="122"/>
                    <a:pt x="306" y="114"/>
                    <a:pt x="270" y="114"/>
                  </a:cubicBezTo>
                  <a:cubicBezTo>
                    <a:pt x="207" y="114"/>
                    <a:pt x="163" y="129"/>
                    <a:pt x="163" y="160"/>
                  </a:cubicBezTo>
                  <a:cubicBezTo>
                    <a:pt x="163" y="195"/>
                    <a:pt x="223" y="224"/>
                    <a:pt x="290" y="260"/>
                  </a:cubicBezTo>
                  <a:cubicBezTo>
                    <a:pt x="353" y="294"/>
                    <a:pt x="441" y="340"/>
                    <a:pt x="441" y="443"/>
                  </a:cubicBezTo>
                  <a:cubicBezTo>
                    <a:pt x="441" y="557"/>
                    <a:pt x="340" y="621"/>
                    <a:pt x="187" y="621"/>
                  </a:cubicBezTo>
                  <a:cubicBezTo>
                    <a:pt x="117" y="621"/>
                    <a:pt x="69" y="607"/>
                    <a:pt x="11" y="594"/>
                  </a:cubicBezTo>
                  <a:lnTo>
                    <a:pt x="11" y="469"/>
                  </a:lnTo>
                  <a:cubicBezTo>
                    <a:pt x="56" y="482"/>
                    <a:pt x="128" y="506"/>
                    <a:pt x="193" y="506"/>
                  </a:cubicBezTo>
                  <a:cubicBezTo>
                    <a:pt x="236" y="506"/>
                    <a:pt x="279" y="487"/>
                    <a:pt x="279" y="448"/>
                  </a:cubicBezTo>
                  <a:cubicBezTo>
                    <a:pt x="279" y="412"/>
                    <a:pt x="227" y="391"/>
                    <a:pt x="153" y="349"/>
                  </a:cubicBezTo>
                  <a:cubicBezTo>
                    <a:pt x="86" y="316"/>
                    <a:pt x="0" y="247"/>
                    <a:pt x="0" y="160"/>
                  </a:cubicBezTo>
                  <a:cubicBezTo>
                    <a:pt x="0" y="57"/>
                    <a:pt x="104" y="0"/>
                    <a:pt x="243" y="0"/>
                  </a:cubicBezTo>
                  <a:cubicBezTo>
                    <a:pt x="288" y="0"/>
                    <a:pt x="333" y="4"/>
                    <a:pt x="377" y="10"/>
                  </a:cubicBezTo>
                  <a:lnTo>
                    <a:pt x="377" y="128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" name="Freeform 17"/>
            <p:cNvSpPr>
              <a:spLocks noChangeAspect="1"/>
            </p:cNvSpPr>
            <p:nvPr/>
          </p:nvSpPr>
          <p:spPr bwMode="gray">
            <a:xfrm>
              <a:off x="1772" y="2564"/>
              <a:ext cx="215" cy="743"/>
            </a:xfrm>
            <a:custGeom>
              <a:avLst/>
              <a:gdLst/>
              <a:ahLst/>
              <a:cxnLst>
                <a:cxn ang="0">
                  <a:pos x="18" y="817"/>
                </a:cxn>
                <a:cxn ang="0">
                  <a:pos x="18" y="817"/>
                </a:cxn>
                <a:cxn ang="0">
                  <a:pos x="24" y="606"/>
                </a:cxn>
                <a:cxn ang="0">
                  <a:pos x="24" y="287"/>
                </a:cxn>
                <a:cxn ang="0">
                  <a:pos x="0" y="0"/>
                </a:cxn>
                <a:cxn ang="0">
                  <a:pos x="211" y="0"/>
                </a:cxn>
                <a:cxn ang="0">
                  <a:pos x="205" y="232"/>
                </a:cxn>
                <a:cxn ang="0">
                  <a:pos x="205" y="530"/>
                </a:cxn>
                <a:cxn ang="0">
                  <a:pos x="229" y="817"/>
                </a:cxn>
                <a:cxn ang="0">
                  <a:pos x="18" y="817"/>
                </a:cxn>
              </a:cxnLst>
              <a:rect l="0" t="0" r="r" b="b"/>
              <a:pathLst>
                <a:path w="229" h="817">
                  <a:moveTo>
                    <a:pt x="18" y="817"/>
                  </a:moveTo>
                  <a:lnTo>
                    <a:pt x="18" y="817"/>
                  </a:lnTo>
                  <a:cubicBezTo>
                    <a:pt x="22" y="750"/>
                    <a:pt x="24" y="699"/>
                    <a:pt x="24" y="606"/>
                  </a:cubicBezTo>
                  <a:lnTo>
                    <a:pt x="24" y="287"/>
                  </a:lnTo>
                  <a:cubicBezTo>
                    <a:pt x="24" y="172"/>
                    <a:pt x="17" y="85"/>
                    <a:pt x="0" y="0"/>
                  </a:cubicBezTo>
                  <a:lnTo>
                    <a:pt x="211" y="0"/>
                  </a:lnTo>
                  <a:cubicBezTo>
                    <a:pt x="211" y="59"/>
                    <a:pt x="205" y="140"/>
                    <a:pt x="205" y="232"/>
                  </a:cubicBezTo>
                  <a:lnTo>
                    <a:pt x="205" y="530"/>
                  </a:lnTo>
                  <a:cubicBezTo>
                    <a:pt x="205" y="614"/>
                    <a:pt x="218" y="739"/>
                    <a:pt x="229" y="817"/>
                  </a:cubicBezTo>
                  <a:lnTo>
                    <a:pt x="18" y="817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" name="Freeform 18"/>
            <p:cNvSpPr>
              <a:spLocks noChangeAspect="1" noEditPoints="1"/>
            </p:cNvSpPr>
            <p:nvPr/>
          </p:nvSpPr>
          <p:spPr bwMode="gray">
            <a:xfrm>
              <a:off x="2095" y="2758"/>
              <a:ext cx="602" cy="785"/>
            </a:xfrm>
            <a:custGeom>
              <a:avLst/>
              <a:gdLst/>
              <a:ahLst/>
              <a:cxnLst>
                <a:cxn ang="0">
                  <a:pos x="210" y="851"/>
                </a:cxn>
                <a:cxn ang="0">
                  <a:pos x="210" y="851"/>
                </a:cxn>
                <a:cxn ang="0">
                  <a:pos x="198" y="632"/>
                </a:cxn>
                <a:cxn ang="0">
                  <a:pos x="198" y="564"/>
                </a:cxn>
                <a:cxn ang="0">
                  <a:pos x="385" y="621"/>
                </a:cxn>
                <a:cxn ang="0">
                  <a:pos x="662" y="322"/>
                </a:cxn>
                <a:cxn ang="0">
                  <a:pos x="378" y="0"/>
                </a:cxn>
                <a:cxn ang="0">
                  <a:pos x="174" y="98"/>
                </a:cxn>
                <a:cxn ang="0">
                  <a:pos x="153" y="15"/>
                </a:cxn>
                <a:cxn ang="0">
                  <a:pos x="0" y="26"/>
                </a:cxn>
                <a:cxn ang="0">
                  <a:pos x="36" y="323"/>
                </a:cxn>
                <a:cxn ang="0">
                  <a:pos x="36" y="564"/>
                </a:cxn>
                <a:cxn ang="0">
                  <a:pos x="12" y="863"/>
                </a:cxn>
                <a:cxn ang="0">
                  <a:pos x="210" y="851"/>
                </a:cxn>
                <a:cxn ang="0">
                  <a:pos x="210" y="851"/>
                </a:cxn>
                <a:cxn ang="0">
                  <a:pos x="186" y="323"/>
                </a:cxn>
                <a:cxn ang="0">
                  <a:pos x="186" y="323"/>
                </a:cxn>
                <a:cxn ang="0">
                  <a:pos x="338" y="125"/>
                </a:cxn>
                <a:cxn ang="0">
                  <a:pos x="500" y="323"/>
                </a:cxn>
                <a:cxn ang="0">
                  <a:pos x="345" y="495"/>
                </a:cxn>
                <a:cxn ang="0">
                  <a:pos x="186" y="323"/>
                </a:cxn>
              </a:cxnLst>
              <a:rect l="0" t="0" r="r" b="b"/>
              <a:pathLst>
                <a:path w="662" h="863">
                  <a:moveTo>
                    <a:pt x="210" y="851"/>
                  </a:moveTo>
                  <a:lnTo>
                    <a:pt x="210" y="851"/>
                  </a:lnTo>
                  <a:cubicBezTo>
                    <a:pt x="198" y="763"/>
                    <a:pt x="198" y="664"/>
                    <a:pt x="198" y="632"/>
                  </a:cubicBezTo>
                  <a:lnTo>
                    <a:pt x="198" y="564"/>
                  </a:lnTo>
                  <a:cubicBezTo>
                    <a:pt x="242" y="589"/>
                    <a:pt x="288" y="621"/>
                    <a:pt x="385" y="621"/>
                  </a:cubicBezTo>
                  <a:cubicBezTo>
                    <a:pt x="550" y="621"/>
                    <a:pt x="662" y="495"/>
                    <a:pt x="662" y="322"/>
                  </a:cubicBezTo>
                  <a:cubicBezTo>
                    <a:pt x="662" y="134"/>
                    <a:pt x="546" y="0"/>
                    <a:pt x="378" y="0"/>
                  </a:cubicBezTo>
                  <a:cubicBezTo>
                    <a:pt x="261" y="0"/>
                    <a:pt x="213" y="56"/>
                    <a:pt x="174" y="98"/>
                  </a:cubicBezTo>
                  <a:cubicBezTo>
                    <a:pt x="166" y="67"/>
                    <a:pt x="162" y="41"/>
                    <a:pt x="153" y="15"/>
                  </a:cubicBezTo>
                  <a:lnTo>
                    <a:pt x="0" y="26"/>
                  </a:lnTo>
                  <a:cubicBezTo>
                    <a:pt x="19" y="127"/>
                    <a:pt x="36" y="220"/>
                    <a:pt x="36" y="323"/>
                  </a:cubicBezTo>
                  <a:lnTo>
                    <a:pt x="36" y="564"/>
                  </a:lnTo>
                  <a:cubicBezTo>
                    <a:pt x="36" y="648"/>
                    <a:pt x="18" y="808"/>
                    <a:pt x="12" y="863"/>
                  </a:cubicBezTo>
                  <a:lnTo>
                    <a:pt x="210" y="851"/>
                  </a:lnTo>
                  <a:lnTo>
                    <a:pt x="210" y="851"/>
                  </a:lnTo>
                  <a:close/>
                  <a:moveTo>
                    <a:pt x="186" y="323"/>
                  </a:moveTo>
                  <a:lnTo>
                    <a:pt x="186" y="323"/>
                  </a:lnTo>
                  <a:cubicBezTo>
                    <a:pt x="186" y="206"/>
                    <a:pt x="236" y="125"/>
                    <a:pt x="338" y="125"/>
                  </a:cubicBezTo>
                  <a:cubicBezTo>
                    <a:pt x="433" y="125"/>
                    <a:pt x="500" y="207"/>
                    <a:pt x="500" y="323"/>
                  </a:cubicBezTo>
                  <a:cubicBezTo>
                    <a:pt x="500" y="426"/>
                    <a:pt x="448" y="495"/>
                    <a:pt x="345" y="495"/>
                  </a:cubicBezTo>
                  <a:cubicBezTo>
                    <a:pt x="244" y="495"/>
                    <a:pt x="186" y="437"/>
                    <a:pt x="186" y="323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" name="Freeform 19"/>
            <p:cNvSpPr>
              <a:spLocks noChangeAspect="1"/>
            </p:cNvSpPr>
            <p:nvPr/>
          </p:nvSpPr>
          <p:spPr bwMode="gray">
            <a:xfrm>
              <a:off x="2773" y="2758"/>
              <a:ext cx="398" cy="570"/>
            </a:xfrm>
            <a:custGeom>
              <a:avLst/>
              <a:gdLst/>
              <a:ahLst/>
              <a:cxnLst>
                <a:cxn ang="0">
                  <a:pos x="364" y="126"/>
                </a:cxn>
                <a:cxn ang="0">
                  <a:pos x="364" y="126"/>
                </a:cxn>
                <a:cxn ang="0">
                  <a:pos x="270" y="114"/>
                </a:cxn>
                <a:cxn ang="0">
                  <a:pos x="162" y="160"/>
                </a:cxn>
                <a:cxn ang="0">
                  <a:pos x="289" y="260"/>
                </a:cxn>
                <a:cxn ang="0">
                  <a:pos x="440" y="443"/>
                </a:cxn>
                <a:cxn ang="0">
                  <a:pos x="186" y="621"/>
                </a:cxn>
                <a:cxn ang="0">
                  <a:pos x="11" y="594"/>
                </a:cxn>
                <a:cxn ang="0">
                  <a:pos x="11" y="469"/>
                </a:cxn>
                <a:cxn ang="0">
                  <a:pos x="192" y="506"/>
                </a:cxn>
                <a:cxn ang="0">
                  <a:pos x="278" y="448"/>
                </a:cxn>
                <a:cxn ang="0">
                  <a:pos x="152" y="349"/>
                </a:cxn>
                <a:cxn ang="0">
                  <a:pos x="0" y="160"/>
                </a:cxn>
                <a:cxn ang="0">
                  <a:pos x="242" y="0"/>
                </a:cxn>
                <a:cxn ang="0">
                  <a:pos x="387" y="12"/>
                </a:cxn>
                <a:cxn ang="0">
                  <a:pos x="364" y="126"/>
                </a:cxn>
              </a:cxnLst>
              <a:rect l="0" t="0" r="r" b="b"/>
              <a:pathLst>
                <a:path w="440" h="621">
                  <a:moveTo>
                    <a:pt x="364" y="126"/>
                  </a:moveTo>
                  <a:lnTo>
                    <a:pt x="364" y="126"/>
                  </a:lnTo>
                  <a:cubicBezTo>
                    <a:pt x="328" y="120"/>
                    <a:pt x="306" y="114"/>
                    <a:pt x="270" y="114"/>
                  </a:cubicBezTo>
                  <a:cubicBezTo>
                    <a:pt x="206" y="114"/>
                    <a:pt x="162" y="129"/>
                    <a:pt x="162" y="160"/>
                  </a:cubicBezTo>
                  <a:cubicBezTo>
                    <a:pt x="162" y="195"/>
                    <a:pt x="222" y="224"/>
                    <a:pt x="289" y="260"/>
                  </a:cubicBezTo>
                  <a:cubicBezTo>
                    <a:pt x="353" y="294"/>
                    <a:pt x="440" y="340"/>
                    <a:pt x="440" y="443"/>
                  </a:cubicBezTo>
                  <a:cubicBezTo>
                    <a:pt x="440" y="557"/>
                    <a:pt x="339" y="621"/>
                    <a:pt x="186" y="621"/>
                  </a:cubicBezTo>
                  <a:cubicBezTo>
                    <a:pt x="116" y="621"/>
                    <a:pt x="68" y="607"/>
                    <a:pt x="11" y="594"/>
                  </a:cubicBezTo>
                  <a:lnTo>
                    <a:pt x="11" y="469"/>
                  </a:lnTo>
                  <a:cubicBezTo>
                    <a:pt x="55" y="482"/>
                    <a:pt x="127" y="506"/>
                    <a:pt x="192" y="506"/>
                  </a:cubicBezTo>
                  <a:cubicBezTo>
                    <a:pt x="235" y="506"/>
                    <a:pt x="278" y="487"/>
                    <a:pt x="278" y="448"/>
                  </a:cubicBezTo>
                  <a:cubicBezTo>
                    <a:pt x="278" y="412"/>
                    <a:pt x="227" y="391"/>
                    <a:pt x="152" y="349"/>
                  </a:cubicBezTo>
                  <a:cubicBezTo>
                    <a:pt x="85" y="316"/>
                    <a:pt x="0" y="247"/>
                    <a:pt x="0" y="160"/>
                  </a:cubicBezTo>
                  <a:cubicBezTo>
                    <a:pt x="0" y="57"/>
                    <a:pt x="103" y="0"/>
                    <a:pt x="242" y="0"/>
                  </a:cubicBezTo>
                  <a:cubicBezTo>
                    <a:pt x="288" y="0"/>
                    <a:pt x="342" y="6"/>
                    <a:pt x="387" y="12"/>
                  </a:cubicBezTo>
                  <a:lnTo>
                    <a:pt x="364" y="126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63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86769" y="6566400"/>
            <a:ext cx="4799375" cy="184666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64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808014" y="6566400"/>
            <a:ext cx="182742" cy="184666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lvl1pPr algn="r">
              <a:defRPr sz="1200" b="1">
                <a:solidFill>
                  <a:schemeClr val="bg1"/>
                </a:solidFill>
                <a:latin typeface="+mn-lt"/>
              </a:defRPr>
            </a:lvl1pPr>
          </a:lstStyle>
          <a:p>
            <a:fld id="{99DB18A3-D21F-4BB0-9E84-DFB029941648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" name="Freeform 2"/>
          <p:cNvSpPr>
            <a:spLocks/>
          </p:cNvSpPr>
          <p:nvPr userDrawn="1"/>
        </p:nvSpPr>
        <p:spPr bwMode="grayWhite">
          <a:xfrm>
            <a:off x="8774559" y="0"/>
            <a:ext cx="3415855" cy="1905000"/>
          </a:xfrm>
          <a:custGeom>
            <a:avLst/>
            <a:gdLst>
              <a:gd name="T0" fmla="*/ 4304 w 4304"/>
              <a:gd name="T1" fmla="*/ 0 h 3200"/>
              <a:gd name="T2" fmla="*/ 13 w 4304"/>
              <a:gd name="T3" fmla="*/ 0 h 3200"/>
              <a:gd name="T4" fmla="*/ 0 w 4304"/>
              <a:gd name="T5" fmla="*/ 252 h 3200"/>
              <a:gd name="T6" fmla="*/ 2945 w 4304"/>
              <a:gd name="T7" fmla="*/ 3200 h 3200"/>
              <a:gd name="T8" fmla="*/ 4304 w 4304"/>
              <a:gd name="T9" fmla="*/ 2867 h 3200"/>
              <a:gd name="T10" fmla="*/ 4304 w 4304"/>
              <a:gd name="T11" fmla="*/ 0 h 3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304" h="3200">
                <a:moveTo>
                  <a:pt x="4304" y="0"/>
                </a:moveTo>
                <a:cubicBezTo>
                  <a:pt x="13" y="0"/>
                  <a:pt x="13" y="0"/>
                  <a:pt x="13" y="0"/>
                </a:cubicBezTo>
                <a:cubicBezTo>
                  <a:pt x="7" y="82"/>
                  <a:pt x="0" y="164"/>
                  <a:pt x="0" y="252"/>
                </a:cubicBezTo>
                <a:cubicBezTo>
                  <a:pt x="0" y="1878"/>
                  <a:pt x="1322" y="3200"/>
                  <a:pt x="2945" y="3200"/>
                </a:cubicBezTo>
                <a:cubicBezTo>
                  <a:pt x="3436" y="3200"/>
                  <a:pt x="3895" y="3081"/>
                  <a:pt x="4304" y="2867"/>
                </a:cubicBezTo>
                <a:lnTo>
                  <a:pt x="430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Oval 3"/>
          <p:cNvSpPr>
            <a:spLocks noChangeArrowheads="1"/>
          </p:cNvSpPr>
          <p:nvPr userDrawn="1"/>
        </p:nvSpPr>
        <p:spPr bwMode="grayWhite">
          <a:xfrm>
            <a:off x="973540" y="1889126"/>
            <a:ext cx="2029620" cy="1522413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Line 4"/>
          <p:cNvSpPr>
            <a:spLocks noChangeShapeType="1"/>
          </p:cNvSpPr>
          <p:nvPr userDrawn="1"/>
        </p:nvSpPr>
        <p:spPr bwMode="grayWhite">
          <a:xfrm flipH="1" flipV="1">
            <a:off x="5056060" y="0"/>
            <a:ext cx="3796806" cy="468313"/>
          </a:xfrm>
          <a:prstGeom prst="line">
            <a:avLst/>
          </a:prstGeom>
          <a:noFill/>
          <a:ln w="12700">
            <a:solidFill>
              <a:srgbClr val="FFFFFF">
                <a:alpha val="50000"/>
              </a:srgb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Line 5"/>
          <p:cNvSpPr>
            <a:spLocks noChangeShapeType="1"/>
          </p:cNvSpPr>
          <p:nvPr userDrawn="1"/>
        </p:nvSpPr>
        <p:spPr bwMode="grayWhite">
          <a:xfrm flipH="1" flipV="1">
            <a:off x="2548136" y="1"/>
            <a:ext cx="6304730" cy="601663"/>
          </a:xfrm>
          <a:prstGeom prst="line">
            <a:avLst/>
          </a:prstGeom>
          <a:noFill/>
          <a:ln w="12700">
            <a:solidFill>
              <a:srgbClr val="FFFFFF">
                <a:alpha val="50000"/>
              </a:srgb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grayWhite">
          <a:xfrm>
            <a:off x="2946017" y="1136651"/>
            <a:ext cx="6262402" cy="1312863"/>
          </a:xfrm>
          <a:custGeom>
            <a:avLst/>
            <a:gdLst>
              <a:gd name="T0" fmla="*/ 0 w 2959"/>
              <a:gd name="T1" fmla="*/ 827 h 827"/>
              <a:gd name="T2" fmla="*/ 1432 w 2959"/>
              <a:gd name="T3" fmla="*/ 279 h 827"/>
              <a:gd name="T4" fmla="*/ 2959 w 2959"/>
              <a:gd name="T5" fmla="*/ 0 h 8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959" h="827">
                <a:moveTo>
                  <a:pt x="0" y="827"/>
                </a:moveTo>
                <a:cubicBezTo>
                  <a:pt x="239" y="736"/>
                  <a:pt x="939" y="417"/>
                  <a:pt x="1432" y="279"/>
                </a:cubicBezTo>
                <a:cubicBezTo>
                  <a:pt x="1925" y="141"/>
                  <a:pt x="2641" y="58"/>
                  <a:pt x="2959" y="0"/>
                </a:cubicBezTo>
              </a:path>
            </a:pathLst>
          </a:custGeom>
          <a:noFill/>
          <a:ln w="12700" cmpd="sng">
            <a:solidFill>
              <a:srgbClr val="FFFFFF">
                <a:alpha val="50000"/>
              </a:srgb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" name="Inhaltsplatzhalter 2"/>
          <p:cNvSpPr>
            <a:spLocks noGrp="1"/>
          </p:cNvSpPr>
          <p:nvPr>
            <p:ph idx="1" hasCustomPrompt="1"/>
          </p:nvPr>
        </p:nvSpPr>
        <p:spPr>
          <a:xfrm>
            <a:off x="4333636" y="2538000"/>
            <a:ext cx="7679000" cy="3776400"/>
          </a:xfrm>
          <a:prstGeom prst="rect">
            <a:avLst/>
          </a:prstGeom>
        </p:spPr>
        <p:txBody>
          <a:bodyPr lIns="0" tIns="0" rIns="0" bIns="0"/>
          <a:lstStyle>
            <a:lvl1pPr marL="182563" indent="-182563">
              <a:lnSpc>
                <a:spcPct val="100000"/>
              </a:lnSpc>
              <a:spcBef>
                <a:spcPts val="800"/>
              </a:spcBef>
              <a:buFont typeface="Arial" pitchFamily="34" charset="0"/>
              <a:buChar char="•"/>
              <a:defRPr sz="1800">
                <a:solidFill>
                  <a:schemeClr val="bg1"/>
                </a:solidFill>
                <a:latin typeface="+mn-lt"/>
              </a:defRPr>
            </a:lvl1pPr>
            <a:lvl2pPr marL="358775" indent="-176213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Font typeface="Calibri" pitchFamily="34" charset="0"/>
              <a:buChar char="─"/>
              <a:defRPr sz="1600">
                <a:solidFill>
                  <a:schemeClr val="bg1"/>
                </a:solidFill>
                <a:latin typeface="+mn-lt"/>
              </a:defRPr>
            </a:lvl2pPr>
            <a:lvl3pPr marL="538163" indent="-179388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Font typeface="Wingdings" pitchFamily="2" charset="2"/>
              <a:buChar char="§"/>
              <a:defRPr sz="1400">
                <a:solidFill>
                  <a:schemeClr val="bg1"/>
                </a:solidFill>
                <a:latin typeface="+mn-lt"/>
              </a:defRPr>
            </a:lvl3pPr>
            <a:lvl4pPr marL="717550" indent="-179388">
              <a:lnSpc>
                <a:spcPct val="100000"/>
              </a:lnSpc>
              <a:spcBef>
                <a:spcPts val="800"/>
              </a:spcBef>
              <a:defRPr sz="1200">
                <a:solidFill>
                  <a:schemeClr val="bg1"/>
                </a:solidFill>
                <a:latin typeface="+mn-lt"/>
              </a:defRPr>
            </a:lvl4pPr>
            <a:lvl5pPr marL="896938" indent="-179388">
              <a:lnSpc>
                <a:spcPct val="100000"/>
              </a:lnSpc>
              <a:spcBef>
                <a:spcPts val="800"/>
              </a:spcBef>
              <a:buFont typeface="Calibri" pitchFamily="34" charset="0"/>
              <a:buChar char="─"/>
              <a:defRPr sz="10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sz="1200" noProof="0" dirty="0"/>
              <a:t>Fourth level</a:t>
            </a:r>
          </a:p>
          <a:p>
            <a:pPr lvl="4"/>
            <a:r>
              <a:rPr lang="en-US" sz="1000" noProof="0" dirty="0"/>
              <a:t>Fifth level</a:t>
            </a:r>
            <a:endParaRPr lang="en-US" noProof="0" dirty="0"/>
          </a:p>
          <a:p>
            <a:pPr lvl="3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578070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hapt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/>
        </p:nvSpPr>
        <p:spPr bwMode="auto">
          <a:xfrm>
            <a:off x="1" y="950913"/>
            <a:ext cx="6347058" cy="5003800"/>
          </a:xfrm>
          <a:custGeom>
            <a:avLst/>
            <a:gdLst>
              <a:gd name="T0" fmla="*/ 692 w 1492"/>
              <a:gd name="T1" fmla="*/ 0 h 1600"/>
              <a:gd name="T2" fmla="*/ 0 w 1492"/>
              <a:gd name="T3" fmla="*/ 399 h 1600"/>
              <a:gd name="T4" fmla="*/ 0 w 1492"/>
              <a:gd name="T5" fmla="*/ 1202 h 1600"/>
              <a:gd name="T6" fmla="*/ 692 w 1492"/>
              <a:gd name="T7" fmla="*/ 1600 h 1600"/>
              <a:gd name="T8" fmla="*/ 1492 w 1492"/>
              <a:gd name="T9" fmla="*/ 800 h 1600"/>
              <a:gd name="T10" fmla="*/ 692 w 1492"/>
              <a:gd name="T11" fmla="*/ 0 h 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92" h="1600">
                <a:moveTo>
                  <a:pt x="692" y="0"/>
                </a:moveTo>
                <a:cubicBezTo>
                  <a:pt x="397" y="0"/>
                  <a:pt x="139" y="161"/>
                  <a:pt x="0" y="399"/>
                </a:cubicBezTo>
                <a:cubicBezTo>
                  <a:pt x="0" y="1202"/>
                  <a:pt x="0" y="1202"/>
                  <a:pt x="0" y="1202"/>
                </a:cubicBezTo>
                <a:cubicBezTo>
                  <a:pt x="139" y="1440"/>
                  <a:pt x="397" y="1600"/>
                  <a:pt x="692" y="1600"/>
                </a:cubicBezTo>
                <a:cubicBezTo>
                  <a:pt x="1134" y="1600"/>
                  <a:pt x="1492" y="1242"/>
                  <a:pt x="1492" y="800"/>
                </a:cubicBezTo>
                <a:cubicBezTo>
                  <a:pt x="1492" y="359"/>
                  <a:pt x="1134" y="0"/>
                  <a:pt x="69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3"/>
          <p:cNvSpPr>
            <a:spLocks/>
          </p:cNvSpPr>
          <p:nvPr/>
        </p:nvSpPr>
        <p:spPr bwMode="auto">
          <a:xfrm>
            <a:off x="9913177" y="1541463"/>
            <a:ext cx="2281470" cy="2360612"/>
          </a:xfrm>
          <a:custGeom>
            <a:avLst/>
            <a:gdLst>
              <a:gd name="T0" fmla="*/ 520 w 520"/>
              <a:gd name="T1" fmla="*/ 32 h 740"/>
              <a:gd name="T2" fmla="*/ 370 w 520"/>
              <a:gd name="T3" fmla="*/ 0 h 740"/>
              <a:gd name="T4" fmla="*/ 0 w 520"/>
              <a:gd name="T5" fmla="*/ 370 h 740"/>
              <a:gd name="T6" fmla="*/ 370 w 520"/>
              <a:gd name="T7" fmla="*/ 740 h 740"/>
              <a:gd name="T8" fmla="*/ 520 w 520"/>
              <a:gd name="T9" fmla="*/ 709 h 740"/>
              <a:gd name="T10" fmla="*/ 520 w 520"/>
              <a:gd name="T11" fmla="*/ 32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20" h="740">
                <a:moveTo>
                  <a:pt x="520" y="32"/>
                </a:moveTo>
                <a:cubicBezTo>
                  <a:pt x="474" y="12"/>
                  <a:pt x="423" y="0"/>
                  <a:pt x="370" y="0"/>
                </a:cubicBezTo>
                <a:cubicBezTo>
                  <a:pt x="166" y="0"/>
                  <a:pt x="0" y="166"/>
                  <a:pt x="0" y="370"/>
                </a:cubicBezTo>
                <a:cubicBezTo>
                  <a:pt x="0" y="575"/>
                  <a:pt x="166" y="740"/>
                  <a:pt x="370" y="740"/>
                </a:cubicBezTo>
                <a:cubicBezTo>
                  <a:pt x="423" y="740"/>
                  <a:pt x="474" y="729"/>
                  <a:pt x="520" y="709"/>
                </a:cubicBezTo>
                <a:lnTo>
                  <a:pt x="520" y="3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5"/>
          <p:cNvSpPr>
            <a:spLocks/>
          </p:cNvSpPr>
          <p:nvPr/>
        </p:nvSpPr>
        <p:spPr bwMode="auto">
          <a:xfrm>
            <a:off x="778833" y="5846764"/>
            <a:ext cx="1223274" cy="746125"/>
          </a:xfrm>
          <a:custGeom>
            <a:avLst/>
            <a:gdLst>
              <a:gd name="T0" fmla="*/ 0 w 578"/>
              <a:gd name="T1" fmla="*/ 470 h 470"/>
              <a:gd name="T2" fmla="*/ 286 w 578"/>
              <a:gd name="T3" fmla="*/ 270 h 470"/>
              <a:gd name="T4" fmla="*/ 578 w 578"/>
              <a:gd name="T5" fmla="*/ 0 h 4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578" h="470">
                <a:moveTo>
                  <a:pt x="0" y="470"/>
                </a:moveTo>
                <a:cubicBezTo>
                  <a:pt x="95" y="409"/>
                  <a:pt x="190" y="348"/>
                  <a:pt x="286" y="270"/>
                </a:cubicBezTo>
                <a:cubicBezTo>
                  <a:pt x="382" y="192"/>
                  <a:pt x="529" y="45"/>
                  <a:pt x="578" y="0"/>
                </a:cubicBezTo>
              </a:path>
            </a:pathLst>
          </a:custGeom>
          <a:noFill/>
          <a:ln w="12700" cmpd="sng">
            <a:solidFill>
              <a:srgbClr val="FFFFFF">
                <a:alpha val="49804"/>
              </a:srgb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-4233" y="6272214"/>
            <a:ext cx="855022" cy="592137"/>
          </a:xfrm>
          <a:custGeom>
            <a:avLst/>
            <a:gdLst>
              <a:gd name="T0" fmla="*/ 189 w 191"/>
              <a:gd name="T1" fmla="*/ 183 h 183"/>
              <a:gd name="T2" fmla="*/ 191 w 191"/>
              <a:gd name="T3" fmla="*/ 160 h 183"/>
              <a:gd name="T4" fmla="*/ 31 w 191"/>
              <a:gd name="T5" fmla="*/ 0 h 183"/>
              <a:gd name="T6" fmla="*/ 0 w 191"/>
              <a:gd name="T7" fmla="*/ 3 h 183"/>
              <a:gd name="T8" fmla="*/ 0 w 191"/>
              <a:gd name="T9" fmla="*/ 183 h 183"/>
              <a:gd name="T10" fmla="*/ 189 w 191"/>
              <a:gd name="T11" fmla="*/ 183 h 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91" h="183">
                <a:moveTo>
                  <a:pt x="189" y="183"/>
                </a:moveTo>
                <a:cubicBezTo>
                  <a:pt x="190" y="175"/>
                  <a:pt x="191" y="168"/>
                  <a:pt x="191" y="160"/>
                </a:cubicBezTo>
                <a:cubicBezTo>
                  <a:pt x="191" y="72"/>
                  <a:pt x="119" y="0"/>
                  <a:pt x="31" y="0"/>
                </a:cubicBezTo>
                <a:cubicBezTo>
                  <a:pt x="21" y="0"/>
                  <a:pt x="10" y="1"/>
                  <a:pt x="0" y="3"/>
                </a:cubicBezTo>
                <a:cubicBezTo>
                  <a:pt x="0" y="183"/>
                  <a:pt x="0" y="183"/>
                  <a:pt x="0" y="183"/>
                </a:cubicBezTo>
                <a:lnTo>
                  <a:pt x="189" y="18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104806" y="4680000"/>
            <a:ext cx="5907008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800"/>
              </a:spcBef>
              <a:buNone/>
              <a:defRPr sz="28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788817" y="6566400"/>
            <a:ext cx="182742" cy="184666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99DB18A3-D21F-4BB0-9E84-DFB029941648}" type="slidenum">
              <a:rPr lang="de-DE" smtClean="0"/>
              <a:pPr/>
              <a:t>‹#›</a:t>
            </a:fld>
            <a:endParaRPr lang="de-DE" dirty="0"/>
          </a:p>
        </p:txBody>
      </p:sp>
      <p:grpSp>
        <p:nvGrpSpPr>
          <p:cNvPr id="12" name="Group 18"/>
          <p:cNvGrpSpPr>
            <a:grpSpLocks noChangeAspect="1"/>
          </p:cNvGrpSpPr>
          <p:nvPr/>
        </p:nvGrpSpPr>
        <p:grpSpPr bwMode="auto">
          <a:xfrm>
            <a:off x="201574" y="151200"/>
            <a:ext cx="577259" cy="468312"/>
            <a:chOff x="1352" y="681"/>
            <a:chExt cx="3519" cy="3153"/>
          </a:xfrm>
        </p:grpSpPr>
        <p:sp>
          <p:nvSpPr>
            <p:cNvPr id="13" name="Freeform 19"/>
            <p:cNvSpPr>
              <a:spLocks noChangeAspect="1"/>
            </p:cNvSpPr>
            <p:nvPr/>
          </p:nvSpPr>
          <p:spPr bwMode="auto">
            <a:xfrm>
              <a:off x="1352" y="681"/>
              <a:ext cx="3519" cy="3153"/>
            </a:xfrm>
            <a:custGeom>
              <a:avLst/>
              <a:gdLst>
                <a:gd name="T0" fmla="*/ 0 w 3862"/>
                <a:gd name="T1" fmla="*/ 3449 h 3449"/>
                <a:gd name="T2" fmla="*/ 0 w 3862"/>
                <a:gd name="T3" fmla="*/ 3449 h 3449"/>
                <a:gd name="T4" fmla="*/ 0 w 3862"/>
                <a:gd name="T5" fmla="*/ 0 h 3449"/>
                <a:gd name="T6" fmla="*/ 3696 w 3862"/>
                <a:gd name="T7" fmla="*/ 0 h 3449"/>
                <a:gd name="T8" fmla="*/ 3327 w 3862"/>
                <a:gd name="T9" fmla="*/ 3449 h 3449"/>
                <a:gd name="T10" fmla="*/ 0 w 3862"/>
                <a:gd name="T11" fmla="*/ 3449 h 3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62" h="3449">
                  <a:moveTo>
                    <a:pt x="0" y="3449"/>
                  </a:moveTo>
                  <a:lnTo>
                    <a:pt x="0" y="3449"/>
                  </a:lnTo>
                  <a:lnTo>
                    <a:pt x="0" y="0"/>
                  </a:lnTo>
                  <a:lnTo>
                    <a:pt x="3696" y="0"/>
                  </a:lnTo>
                  <a:cubicBezTo>
                    <a:pt x="3862" y="1150"/>
                    <a:pt x="3797" y="2241"/>
                    <a:pt x="3327" y="3449"/>
                  </a:cubicBezTo>
                  <a:lnTo>
                    <a:pt x="0" y="3449"/>
                  </a:lnTo>
                  <a:close/>
                </a:path>
              </a:pathLst>
            </a:custGeom>
            <a:solidFill>
              <a:srgbClr val="009D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20"/>
            <p:cNvSpPr>
              <a:spLocks noChangeAspect="1"/>
            </p:cNvSpPr>
            <p:nvPr/>
          </p:nvSpPr>
          <p:spPr bwMode="auto">
            <a:xfrm>
              <a:off x="2708" y="1843"/>
              <a:ext cx="75" cy="54"/>
            </a:xfrm>
            <a:custGeom>
              <a:avLst/>
              <a:gdLst>
                <a:gd name="T0" fmla="*/ 16 w 81"/>
                <a:gd name="T1" fmla="*/ 40 h 66"/>
                <a:gd name="T2" fmla="*/ 16 w 81"/>
                <a:gd name="T3" fmla="*/ 40 h 66"/>
                <a:gd name="T4" fmla="*/ 0 w 81"/>
                <a:gd name="T5" fmla="*/ 54 h 66"/>
                <a:gd name="T6" fmla="*/ 79 w 81"/>
                <a:gd name="T7" fmla="*/ 22 h 66"/>
                <a:gd name="T8" fmla="*/ 81 w 81"/>
                <a:gd name="T9" fmla="*/ 0 h 66"/>
                <a:gd name="T10" fmla="*/ 16 w 81"/>
                <a:gd name="T11" fmla="*/ 4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" h="66">
                  <a:moveTo>
                    <a:pt x="16" y="40"/>
                  </a:moveTo>
                  <a:lnTo>
                    <a:pt x="16" y="40"/>
                  </a:lnTo>
                  <a:lnTo>
                    <a:pt x="0" y="54"/>
                  </a:lnTo>
                  <a:cubicBezTo>
                    <a:pt x="35" y="66"/>
                    <a:pt x="72" y="42"/>
                    <a:pt x="79" y="22"/>
                  </a:cubicBezTo>
                  <a:lnTo>
                    <a:pt x="81" y="0"/>
                  </a:lnTo>
                  <a:cubicBezTo>
                    <a:pt x="54" y="6"/>
                    <a:pt x="27" y="19"/>
                    <a:pt x="16" y="4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21"/>
            <p:cNvSpPr>
              <a:spLocks noChangeAspect="1"/>
            </p:cNvSpPr>
            <p:nvPr/>
          </p:nvSpPr>
          <p:spPr bwMode="auto">
            <a:xfrm>
              <a:off x="2869" y="1972"/>
              <a:ext cx="65" cy="54"/>
            </a:xfrm>
            <a:custGeom>
              <a:avLst/>
              <a:gdLst>
                <a:gd name="T0" fmla="*/ 27 w 81"/>
                <a:gd name="T1" fmla="*/ 1 h 63"/>
                <a:gd name="T2" fmla="*/ 27 w 81"/>
                <a:gd name="T3" fmla="*/ 1 h 63"/>
                <a:gd name="T4" fmla="*/ 0 w 81"/>
                <a:gd name="T5" fmla="*/ 0 h 63"/>
                <a:gd name="T6" fmla="*/ 33 w 81"/>
                <a:gd name="T7" fmla="*/ 58 h 63"/>
                <a:gd name="T8" fmla="*/ 53 w 81"/>
                <a:gd name="T9" fmla="*/ 63 h 63"/>
                <a:gd name="T10" fmla="*/ 27 w 81"/>
                <a:gd name="T11" fmla="*/ 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" h="63">
                  <a:moveTo>
                    <a:pt x="27" y="1"/>
                  </a:moveTo>
                  <a:lnTo>
                    <a:pt x="27" y="1"/>
                  </a:lnTo>
                  <a:lnTo>
                    <a:pt x="0" y="0"/>
                  </a:lnTo>
                  <a:cubicBezTo>
                    <a:pt x="0" y="24"/>
                    <a:pt x="8" y="43"/>
                    <a:pt x="33" y="58"/>
                  </a:cubicBezTo>
                  <a:lnTo>
                    <a:pt x="53" y="63"/>
                  </a:lnTo>
                  <a:cubicBezTo>
                    <a:pt x="81" y="39"/>
                    <a:pt x="44" y="15"/>
                    <a:pt x="27" y="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2"/>
            <p:cNvSpPr>
              <a:spLocks noChangeAspect="1"/>
            </p:cNvSpPr>
            <p:nvPr/>
          </p:nvSpPr>
          <p:spPr bwMode="auto">
            <a:xfrm>
              <a:off x="2622" y="1413"/>
              <a:ext cx="86" cy="75"/>
            </a:xfrm>
            <a:custGeom>
              <a:avLst/>
              <a:gdLst>
                <a:gd name="T0" fmla="*/ 20 w 96"/>
                <a:gd name="T1" fmla="*/ 50 h 79"/>
                <a:gd name="T2" fmla="*/ 20 w 96"/>
                <a:gd name="T3" fmla="*/ 50 h 79"/>
                <a:gd name="T4" fmla="*/ 0 w 96"/>
                <a:gd name="T5" fmla="*/ 64 h 79"/>
                <a:gd name="T6" fmla="*/ 89 w 96"/>
                <a:gd name="T7" fmla="*/ 27 h 79"/>
                <a:gd name="T8" fmla="*/ 96 w 96"/>
                <a:gd name="T9" fmla="*/ 0 h 79"/>
                <a:gd name="T10" fmla="*/ 20 w 96"/>
                <a:gd name="T11" fmla="*/ 5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6" h="79">
                  <a:moveTo>
                    <a:pt x="20" y="50"/>
                  </a:moveTo>
                  <a:lnTo>
                    <a:pt x="20" y="50"/>
                  </a:lnTo>
                  <a:lnTo>
                    <a:pt x="0" y="64"/>
                  </a:lnTo>
                  <a:cubicBezTo>
                    <a:pt x="41" y="79"/>
                    <a:pt x="75" y="57"/>
                    <a:pt x="89" y="27"/>
                  </a:cubicBezTo>
                  <a:lnTo>
                    <a:pt x="96" y="0"/>
                  </a:lnTo>
                  <a:cubicBezTo>
                    <a:pt x="63" y="8"/>
                    <a:pt x="38" y="8"/>
                    <a:pt x="20" y="5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23"/>
            <p:cNvSpPr>
              <a:spLocks noChangeAspect="1"/>
            </p:cNvSpPr>
            <p:nvPr/>
          </p:nvSpPr>
          <p:spPr bwMode="auto">
            <a:xfrm>
              <a:off x="2568" y="1563"/>
              <a:ext cx="75" cy="76"/>
            </a:xfrm>
            <a:custGeom>
              <a:avLst/>
              <a:gdLst>
                <a:gd name="T0" fmla="*/ 77 w 77"/>
                <a:gd name="T1" fmla="*/ 22 h 77"/>
                <a:gd name="T2" fmla="*/ 77 w 77"/>
                <a:gd name="T3" fmla="*/ 22 h 77"/>
                <a:gd name="T4" fmla="*/ 71 w 77"/>
                <a:gd name="T5" fmla="*/ 0 h 77"/>
                <a:gd name="T6" fmla="*/ 0 w 77"/>
                <a:gd name="T7" fmla="*/ 44 h 77"/>
                <a:gd name="T8" fmla="*/ 0 w 77"/>
                <a:gd name="T9" fmla="*/ 62 h 77"/>
                <a:gd name="T10" fmla="*/ 77 w 77"/>
                <a:gd name="T11" fmla="*/ 2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7" h="77">
                  <a:moveTo>
                    <a:pt x="77" y="22"/>
                  </a:moveTo>
                  <a:lnTo>
                    <a:pt x="77" y="22"/>
                  </a:lnTo>
                  <a:lnTo>
                    <a:pt x="71" y="0"/>
                  </a:lnTo>
                  <a:cubicBezTo>
                    <a:pt x="38" y="7"/>
                    <a:pt x="14" y="19"/>
                    <a:pt x="0" y="44"/>
                  </a:cubicBezTo>
                  <a:lnTo>
                    <a:pt x="0" y="62"/>
                  </a:lnTo>
                  <a:cubicBezTo>
                    <a:pt x="42" y="77"/>
                    <a:pt x="64" y="40"/>
                    <a:pt x="77" y="2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4"/>
            <p:cNvSpPr>
              <a:spLocks noChangeAspect="1"/>
            </p:cNvSpPr>
            <p:nvPr/>
          </p:nvSpPr>
          <p:spPr bwMode="auto">
            <a:xfrm>
              <a:off x="2547" y="1725"/>
              <a:ext cx="86" cy="64"/>
            </a:xfrm>
            <a:custGeom>
              <a:avLst/>
              <a:gdLst>
                <a:gd name="T0" fmla="*/ 0 w 90"/>
                <a:gd name="T1" fmla="*/ 52 h 74"/>
                <a:gd name="T2" fmla="*/ 0 w 90"/>
                <a:gd name="T3" fmla="*/ 52 h 74"/>
                <a:gd name="T4" fmla="*/ 14 w 90"/>
                <a:gd name="T5" fmla="*/ 60 h 74"/>
                <a:gd name="T6" fmla="*/ 73 w 90"/>
                <a:gd name="T7" fmla="*/ 23 h 74"/>
                <a:gd name="T8" fmla="*/ 90 w 90"/>
                <a:gd name="T9" fmla="*/ 8 h 74"/>
                <a:gd name="T10" fmla="*/ 0 w 90"/>
                <a:gd name="T11" fmla="*/ 52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0" h="74">
                  <a:moveTo>
                    <a:pt x="0" y="52"/>
                  </a:moveTo>
                  <a:lnTo>
                    <a:pt x="0" y="52"/>
                  </a:lnTo>
                  <a:lnTo>
                    <a:pt x="14" y="60"/>
                  </a:lnTo>
                  <a:cubicBezTo>
                    <a:pt x="59" y="74"/>
                    <a:pt x="62" y="38"/>
                    <a:pt x="73" y="23"/>
                  </a:cubicBezTo>
                  <a:lnTo>
                    <a:pt x="90" y="8"/>
                  </a:lnTo>
                  <a:cubicBezTo>
                    <a:pt x="48" y="0"/>
                    <a:pt x="11" y="31"/>
                    <a:pt x="0" y="5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5"/>
            <p:cNvSpPr>
              <a:spLocks noChangeAspect="1"/>
            </p:cNvSpPr>
            <p:nvPr/>
          </p:nvSpPr>
          <p:spPr bwMode="auto">
            <a:xfrm>
              <a:off x="2773" y="1176"/>
              <a:ext cx="86" cy="75"/>
            </a:xfrm>
            <a:custGeom>
              <a:avLst/>
              <a:gdLst>
                <a:gd name="T0" fmla="*/ 16 w 88"/>
                <a:gd name="T1" fmla="*/ 4 h 72"/>
                <a:gd name="T2" fmla="*/ 16 w 88"/>
                <a:gd name="T3" fmla="*/ 4 h 72"/>
                <a:gd name="T4" fmla="*/ 0 w 88"/>
                <a:gd name="T5" fmla="*/ 12 h 72"/>
                <a:gd name="T6" fmla="*/ 86 w 88"/>
                <a:gd name="T7" fmla="*/ 49 h 72"/>
                <a:gd name="T8" fmla="*/ 88 w 88"/>
                <a:gd name="T9" fmla="*/ 22 h 72"/>
                <a:gd name="T10" fmla="*/ 16 w 88"/>
                <a:gd name="T11" fmla="*/ 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8" h="72">
                  <a:moveTo>
                    <a:pt x="16" y="4"/>
                  </a:moveTo>
                  <a:lnTo>
                    <a:pt x="16" y="4"/>
                  </a:lnTo>
                  <a:lnTo>
                    <a:pt x="0" y="12"/>
                  </a:lnTo>
                  <a:cubicBezTo>
                    <a:pt x="4" y="40"/>
                    <a:pt x="70" y="72"/>
                    <a:pt x="86" y="49"/>
                  </a:cubicBezTo>
                  <a:lnTo>
                    <a:pt x="88" y="22"/>
                  </a:lnTo>
                  <a:cubicBezTo>
                    <a:pt x="67" y="8"/>
                    <a:pt x="45" y="0"/>
                    <a:pt x="16" y="4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6"/>
            <p:cNvSpPr>
              <a:spLocks noChangeAspect="1"/>
            </p:cNvSpPr>
            <p:nvPr/>
          </p:nvSpPr>
          <p:spPr bwMode="auto">
            <a:xfrm>
              <a:off x="2955" y="1111"/>
              <a:ext cx="76" cy="87"/>
            </a:xfrm>
            <a:custGeom>
              <a:avLst/>
              <a:gdLst>
                <a:gd name="T0" fmla="*/ 46 w 86"/>
                <a:gd name="T1" fmla="*/ 7 h 92"/>
                <a:gd name="T2" fmla="*/ 46 w 86"/>
                <a:gd name="T3" fmla="*/ 7 h 92"/>
                <a:gd name="T4" fmla="*/ 21 w 86"/>
                <a:gd name="T5" fmla="*/ 0 h 92"/>
                <a:gd name="T6" fmla="*/ 14 w 86"/>
                <a:gd name="T7" fmla="*/ 66 h 92"/>
                <a:gd name="T8" fmla="*/ 27 w 86"/>
                <a:gd name="T9" fmla="*/ 92 h 92"/>
                <a:gd name="T10" fmla="*/ 46 w 86"/>
                <a:gd name="T11" fmla="*/ 7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92">
                  <a:moveTo>
                    <a:pt x="46" y="7"/>
                  </a:moveTo>
                  <a:lnTo>
                    <a:pt x="46" y="7"/>
                  </a:lnTo>
                  <a:lnTo>
                    <a:pt x="21" y="0"/>
                  </a:lnTo>
                  <a:cubicBezTo>
                    <a:pt x="7" y="19"/>
                    <a:pt x="0" y="33"/>
                    <a:pt x="14" y="66"/>
                  </a:cubicBezTo>
                  <a:lnTo>
                    <a:pt x="27" y="92"/>
                  </a:lnTo>
                  <a:cubicBezTo>
                    <a:pt x="57" y="63"/>
                    <a:pt x="86" y="36"/>
                    <a:pt x="46" y="7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7"/>
            <p:cNvSpPr>
              <a:spLocks noChangeAspect="1" noEditPoints="1"/>
            </p:cNvSpPr>
            <p:nvPr/>
          </p:nvSpPr>
          <p:spPr bwMode="auto">
            <a:xfrm>
              <a:off x="3149" y="929"/>
              <a:ext cx="667" cy="1678"/>
            </a:xfrm>
            <a:custGeom>
              <a:avLst/>
              <a:gdLst>
                <a:gd name="T0" fmla="*/ 451 w 724"/>
                <a:gd name="T1" fmla="*/ 808 h 1845"/>
                <a:gd name="T2" fmla="*/ 451 w 724"/>
                <a:gd name="T3" fmla="*/ 808 h 1845"/>
                <a:gd name="T4" fmla="*/ 326 w 724"/>
                <a:gd name="T5" fmla="*/ 776 h 1845"/>
                <a:gd name="T6" fmla="*/ 477 w 724"/>
                <a:gd name="T7" fmla="*/ 746 h 1845"/>
                <a:gd name="T8" fmla="*/ 493 w 724"/>
                <a:gd name="T9" fmla="*/ 773 h 1845"/>
                <a:gd name="T10" fmla="*/ 451 w 724"/>
                <a:gd name="T11" fmla="*/ 808 h 1845"/>
                <a:gd name="T12" fmla="*/ 451 w 724"/>
                <a:gd name="T13" fmla="*/ 808 h 1845"/>
                <a:gd name="T14" fmla="*/ 639 w 724"/>
                <a:gd name="T15" fmla="*/ 841 h 1845"/>
                <a:gd name="T16" fmla="*/ 639 w 724"/>
                <a:gd name="T17" fmla="*/ 841 h 1845"/>
                <a:gd name="T18" fmla="*/ 601 w 724"/>
                <a:gd name="T19" fmla="*/ 701 h 1845"/>
                <a:gd name="T20" fmla="*/ 634 w 724"/>
                <a:gd name="T21" fmla="*/ 646 h 1845"/>
                <a:gd name="T22" fmla="*/ 627 w 724"/>
                <a:gd name="T23" fmla="*/ 477 h 1845"/>
                <a:gd name="T24" fmla="*/ 641 w 724"/>
                <a:gd name="T25" fmla="*/ 463 h 1845"/>
                <a:gd name="T26" fmla="*/ 627 w 724"/>
                <a:gd name="T27" fmla="*/ 414 h 1845"/>
                <a:gd name="T28" fmla="*/ 615 w 724"/>
                <a:gd name="T29" fmla="*/ 342 h 1845"/>
                <a:gd name="T30" fmla="*/ 590 w 724"/>
                <a:gd name="T31" fmla="*/ 286 h 1845"/>
                <a:gd name="T32" fmla="*/ 602 w 724"/>
                <a:gd name="T33" fmla="*/ 260 h 1845"/>
                <a:gd name="T34" fmla="*/ 560 w 724"/>
                <a:gd name="T35" fmla="*/ 236 h 1845"/>
                <a:gd name="T36" fmla="*/ 523 w 724"/>
                <a:gd name="T37" fmla="*/ 213 h 1845"/>
                <a:gd name="T38" fmla="*/ 514 w 724"/>
                <a:gd name="T39" fmla="*/ 180 h 1845"/>
                <a:gd name="T40" fmla="*/ 483 w 724"/>
                <a:gd name="T41" fmla="*/ 195 h 1845"/>
                <a:gd name="T42" fmla="*/ 476 w 724"/>
                <a:gd name="T43" fmla="*/ 154 h 1845"/>
                <a:gd name="T44" fmla="*/ 434 w 724"/>
                <a:gd name="T45" fmla="*/ 171 h 1845"/>
                <a:gd name="T46" fmla="*/ 411 w 724"/>
                <a:gd name="T47" fmla="*/ 119 h 1845"/>
                <a:gd name="T48" fmla="*/ 389 w 724"/>
                <a:gd name="T49" fmla="*/ 124 h 1845"/>
                <a:gd name="T50" fmla="*/ 356 w 724"/>
                <a:gd name="T51" fmla="*/ 150 h 1845"/>
                <a:gd name="T52" fmla="*/ 356 w 724"/>
                <a:gd name="T53" fmla="*/ 101 h 1845"/>
                <a:gd name="T54" fmla="*/ 341 w 724"/>
                <a:gd name="T55" fmla="*/ 93 h 1845"/>
                <a:gd name="T56" fmla="*/ 314 w 724"/>
                <a:gd name="T57" fmla="*/ 81 h 1845"/>
                <a:gd name="T58" fmla="*/ 276 w 724"/>
                <a:gd name="T59" fmla="*/ 97 h 1845"/>
                <a:gd name="T60" fmla="*/ 292 w 724"/>
                <a:gd name="T61" fmla="*/ 51 h 1845"/>
                <a:gd name="T62" fmla="*/ 244 w 724"/>
                <a:gd name="T63" fmla="*/ 106 h 1845"/>
                <a:gd name="T64" fmla="*/ 216 w 724"/>
                <a:gd name="T65" fmla="*/ 112 h 1845"/>
                <a:gd name="T66" fmla="*/ 266 w 724"/>
                <a:gd name="T67" fmla="*/ 43 h 1845"/>
                <a:gd name="T68" fmla="*/ 214 w 724"/>
                <a:gd name="T69" fmla="*/ 91 h 1845"/>
                <a:gd name="T70" fmla="*/ 173 w 724"/>
                <a:gd name="T71" fmla="*/ 98 h 1845"/>
                <a:gd name="T72" fmla="*/ 186 w 724"/>
                <a:gd name="T73" fmla="*/ 38 h 1845"/>
                <a:gd name="T74" fmla="*/ 173 w 724"/>
                <a:gd name="T75" fmla="*/ 69 h 1845"/>
                <a:gd name="T76" fmla="*/ 166 w 724"/>
                <a:gd name="T77" fmla="*/ 36 h 1845"/>
                <a:gd name="T78" fmla="*/ 142 w 724"/>
                <a:gd name="T79" fmla="*/ 114 h 1845"/>
                <a:gd name="T80" fmla="*/ 126 w 724"/>
                <a:gd name="T81" fmla="*/ 39 h 1845"/>
                <a:gd name="T82" fmla="*/ 80 w 724"/>
                <a:gd name="T83" fmla="*/ 112 h 1845"/>
                <a:gd name="T84" fmla="*/ 56 w 724"/>
                <a:gd name="T85" fmla="*/ 117 h 1845"/>
                <a:gd name="T86" fmla="*/ 37 w 724"/>
                <a:gd name="T87" fmla="*/ 43 h 1845"/>
                <a:gd name="T88" fmla="*/ 5 w 724"/>
                <a:gd name="T89" fmla="*/ 1808 h 1845"/>
                <a:gd name="T90" fmla="*/ 0 w 724"/>
                <a:gd name="T91" fmla="*/ 1840 h 1845"/>
                <a:gd name="T92" fmla="*/ 162 w 724"/>
                <a:gd name="T93" fmla="*/ 1823 h 1845"/>
                <a:gd name="T94" fmla="*/ 529 w 724"/>
                <a:gd name="T95" fmla="*/ 1842 h 1845"/>
                <a:gd name="T96" fmla="*/ 614 w 724"/>
                <a:gd name="T97" fmla="*/ 1829 h 1845"/>
                <a:gd name="T98" fmla="*/ 421 w 724"/>
                <a:gd name="T99" fmla="*/ 1778 h 1845"/>
                <a:gd name="T100" fmla="*/ 272 w 724"/>
                <a:gd name="T101" fmla="*/ 1664 h 1845"/>
                <a:gd name="T102" fmla="*/ 237 w 724"/>
                <a:gd name="T103" fmla="*/ 1566 h 1845"/>
                <a:gd name="T104" fmla="*/ 239 w 724"/>
                <a:gd name="T105" fmla="*/ 1432 h 1845"/>
                <a:gd name="T106" fmla="*/ 315 w 724"/>
                <a:gd name="T107" fmla="*/ 1404 h 1845"/>
                <a:gd name="T108" fmla="*/ 586 w 724"/>
                <a:gd name="T109" fmla="*/ 1387 h 1845"/>
                <a:gd name="T110" fmla="*/ 605 w 724"/>
                <a:gd name="T111" fmla="*/ 1286 h 1845"/>
                <a:gd name="T112" fmla="*/ 609 w 724"/>
                <a:gd name="T113" fmla="*/ 1223 h 1845"/>
                <a:gd name="T114" fmla="*/ 630 w 724"/>
                <a:gd name="T115" fmla="*/ 1174 h 1845"/>
                <a:gd name="T116" fmla="*/ 590 w 724"/>
                <a:gd name="T117" fmla="*/ 1133 h 1845"/>
                <a:gd name="T118" fmla="*/ 650 w 724"/>
                <a:gd name="T119" fmla="*/ 1082 h 1845"/>
                <a:gd name="T120" fmla="*/ 621 w 724"/>
                <a:gd name="T121" fmla="*/ 1018 h 1845"/>
                <a:gd name="T122" fmla="*/ 704 w 724"/>
                <a:gd name="T123" fmla="*/ 959 h 1845"/>
                <a:gd name="T124" fmla="*/ 639 w 724"/>
                <a:gd name="T125" fmla="*/ 841 h 1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4" h="1845">
                  <a:moveTo>
                    <a:pt x="451" y="808"/>
                  </a:moveTo>
                  <a:lnTo>
                    <a:pt x="451" y="808"/>
                  </a:lnTo>
                  <a:cubicBezTo>
                    <a:pt x="397" y="820"/>
                    <a:pt x="315" y="783"/>
                    <a:pt x="326" y="776"/>
                  </a:cubicBezTo>
                  <a:cubicBezTo>
                    <a:pt x="353" y="757"/>
                    <a:pt x="416" y="725"/>
                    <a:pt x="477" y="746"/>
                  </a:cubicBezTo>
                  <a:cubicBezTo>
                    <a:pt x="488" y="750"/>
                    <a:pt x="492" y="760"/>
                    <a:pt x="493" y="773"/>
                  </a:cubicBezTo>
                  <a:cubicBezTo>
                    <a:pt x="496" y="804"/>
                    <a:pt x="471" y="805"/>
                    <a:pt x="451" y="808"/>
                  </a:cubicBezTo>
                  <a:lnTo>
                    <a:pt x="451" y="808"/>
                  </a:lnTo>
                  <a:close/>
                  <a:moveTo>
                    <a:pt x="639" y="841"/>
                  </a:moveTo>
                  <a:lnTo>
                    <a:pt x="639" y="841"/>
                  </a:lnTo>
                  <a:cubicBezTo>
                    <a:pt x="610" y="803"/>
                    <a:pt x="557" y="751"/>
                    <a:pt x="601" y="701"/>
                  </a:cubicBezTo>
                  <a:cubicBezTo>
                    <a:pt x="624" y="684"/>
                    <a:pt x="631" y="670"/>
                    <a:pt x="634" y="646"/>
                  </a:cubicBezTo>
                  <a:cubicBezTo>
                    <a:pt x="644" y="560"/>
                    <a:pt x="639" y="524"/>
                    <a:pt x="627" y="477"/>
                  </a:cubicBezTo>
                  <a:cubicBezTo>
                    <a:pt x="629" y="473"/>
                    <a:pt x="638" y="478"/>
                    <a:pt x="641" y="463"/>
                  </a:cubicBezTo>
                  <a:cubicBezTo>
                    <a:pt x="650" y="422"/>
                    <a:pt x="627" y="414"/>
                    <a:pt x="627" y="414"/>
                  </a:cubicBezTo>
                  <a:cubicBezTo>
                    <a:pt x="645" y="399"/>
                    <a:pt x="643" y="342"/>
                    <a:pt x="615" y="342"/>
                  </a:cubicBezTo>
                  <a:cubicBezTo>
                    <a:pt x="631" y="317"/>
                    <a:pt x="617" y="277"/>
                    <a:pt x="590" y="286"/>
                  </a:cubicBezTo>
                  <a:cubicBezTo>
                    <a:pt x="590" y="286"/>
                    <a:pt x="604" y="278"/>
                    <a:pt x="602" y="260"/>
                  </a:cubicBezTo>
                  <a:cubicBezTo>
                    <a:pt x="599" y="224"/>
                    <a:pt x="547" y="259"/>
                    <a:pt x="560" y="236"/>
                  </a:cubicBezTo>
                  <a:cubicBezTo>
                    <a:pt x="567" y="223"/>
                    <a:pt x="538" y="180"/>
                    <a:pt x="523" y="213"/>
                  </a:cubicBezTo>
                  <a:cubicBezTo>
                    <a:pt x="515" y="207"/>
                    <a:pt x="529" y="187"/>
                    <a:pt x="514" y="180"/>
                  </a:cubicBezTo>
                  <a:cubicBezTo>
                    <a:pt x="504" y="181"/>
                    <a:pt x="495" y="188"/>
                    <a:pt x="483" y="195"/>
                  </a:cubicBezTo>
                  <a:cubicBezTo>
                    <a:pt x="479" y="181"/>
                    <a:pt x="494" y="174"/>
                    <a:pt x="476" y="154"/>
                  </a:cubicBezTo>
                  <a:cubicBezTo>
                    <a:pt x="452" y="138"/>
                    <a:pt x="451" y="162"/>
                    <a:pt x="434" y="171"/>
                  </a:cubicBezTo>
                  <a:cubicBezTo>
                    <a:pt x="404" y="164"/>
                    <a:pt x="476" y="146"/>
                    <a:pt x="411" y="119"/>
                  </a:cubicBezTo>
                  <a:cubicBezTo>
                    <a:pt x="395" y="159"/>
                    <a:pt x="396" y="130"/>
                    <a:pt x="389" y="124"/>
                  </a:cubicBezTo>
                  <a:cubicBezTo>
                    <a:pt x="384" y="121"/>
                    <a:pt x="375" y="131"/>
                    <a:pt x="356" y="150"/>
                  </a:cubicBezTo>
                  <a:cubicBezTo>
                    <a:pt x="366" y="124"/>
                    <a:pt x="388" y="92"/>
                    <a:pt x="356" y="101"/>
                  </a:cubicBezTo>
                  <a:cubicBezTo>
                    <a:pt x="320" y="117"/>
                    <a:pt x="341" y="96"/>
                    <a:pt x="341" y="93"/>
                  </a:cubicBezTo>
                  <a:cubicBezTo>
                    <a:pt x="372" y="79"/>
                    <a:pt x="312" y="45"/>
                    <a:pt x="314" y="81"/>
                  </a:cubicBezTo>
                  <a:cubicBezTo>
                    <a:pt x="313" y="105"/>
                    <a:pt x="261" y="126"/>
                    <a:pt x="276" y="97"/>
                  </a:cubicBezTo>
                  <a:cubicBezTo>
                    <a:pt x="286" y="60"/>
                    <a:pt x="331" y="116"/>
                    <a:pt x="292" y="51"/>
                  </a:cubicBezTo>
                  <a:cubicBezTo>
                    <a:pt x="268" y="78"/>
                    <a:pt x="248" y="96"/>
                    <a:pt x="244" y="106"/>
                  </a:cubicBezTo>
                  <a:cubicBezTo>
                    <a:pt x="225" y="181"/>
                    <a:pt x="236" y="113"/>
                    <a:pt x="216" y="112"/>
                  </a:cubicBezTo>
                  <a:cubicBezTo>
                    <a:pt x="242" y="94"/>
                    <a:pt x="276" y="63"/>
                    <a:pt x="266" y="43"/>
                  </a:cubicBezTo>
                  <a:cubicBezTo>
                    <a:pt x="237" y="41"/>
                    <a:pt x="172" y="87"/>
                    <a:pt x="214" y="91"/>
                  </a:cubicBezTo>
                  <a:cubicBezTo>
                    <a:pt x="211" y="106"/>
                    <a:pt x="187" y="123"/>
                    <a:pt x="173" y="98"/>
                  </a:cubicBezTo>
                  <a:cubicBezTo>
                    <a:pt x="196" y="92"/>
                    <a:pt x="235" y="15"/>
                    <a:pt x="186" y="38"/>
                  </a:cubicBezTo>
                  <a:cubicBezTo>
                    <a:pt x="181" y="42"/>
                    <a:pt x="181" y="56"/>
                    <a:pt x="173" y="69"/>
                  </a:cubicBezTo>
                  <a:cubicBezTo>
                    <a:pt x="161" y="58"/>
                    <a:pt x="170" y="42"/>
                    <a:pt x="166" y="36"/>
                  </a:cubicBezTo>
                  <a:cubicBezTo>
                    <a:pt x="127" y="0"/>
                    <a:pt x="141" y="93"/>
                    <a:pt x="142" y="114"/>
                  </a:cubicBezTo>
                  <a:cubicBezTo>
                    <a:pt x="92" y="82"/>
                    <a:pt x="139" y="91"/>
                    <a:pt x="126" y="39"/>
                  </a:cubicBezTo>
                  <a:cubicBezTo>
                    <a:pt x="84" y="47"/>
                    <a:pt x="73" y="64"/>
                    <a:pt x="80" y="112"/>
                  </a:cubicBezTo>
                  <a:cubicBezTo>
                    <a:pt x="74" y="123"/>
                    <a:pt x="63" y="149"/>
                    <a:pt x="56" y="117"/>
                  </a:cubicBezTo>
                  <a:cubicBezTo>
                    <a:pt x="79" y="87"/>
                    <a:pt x="77" y="44"/>
                    <a:pt x="37" y="43"/>
                  </a:cubicBezTo>
                  <a:cubicBezTo>
                    <a:pt x="101" y="631"/>
                    <a:pt x="97" y="1225"/>
                    <a:pt x="5" y="1808"/>
                  </a:cubicBezTo>
                  <a:lnTo>
                    <a:pt x="0" y="1840"/>
                  </a:lnTo>
                  <a:cubicBezTo>
                    <a:pt x="46" y="1839"/>
                    <a:pt x="113" y="1825"/>
                    <a:pt x="162" y="1823"/>
                  </a:cubicBezTo>
                  <a:cubicBezTo>
                    <a:pt x="301" y="1827"/>
                    <a:pt x="298" y="1845"/>
                    <a:pt x="529" y="1842"/>
                  </a:cubicBezTo>
                  <a:cubicBezTo>
                    <a:pt x="582" y="1837"/>
                    <a:pt x="597" y="1829"/>
                    <a:pt x="614" y="1829"/>
                  </a:cubicBezTo>
                  <a:cubicBezTo>
                    <a:pt x="597" y="1758"/>
                    <a:pt x="481" y="1798"/>
                    <a:pt x="421" y="1778"/>
                  </a:cubicBezTo>
                  <a:cubicBezTo>
                    <a:pt x="321" y="1768"/>
                    <a:pt x="304" y="1708"/>
                    <a:pt x="272" y="1664"/>
                  </a:cubicBezTo>
                  <a:cubicBezTo>
                    <a:pt x="258" y="1639"/>
                    <a:pt x="237" y="1608"/>
                    <a:pt x="237" y="1566"/>
                  </a:cubicBezTo>
                  <a:cubicBezTo>
                    <a:pt x="230" y="1513"/>
                    <a:pt x="240" y="1484"/>
                    <a:pt x="239" y="1432"/>
                  </a:cubicBezTo>
                  <a:cubicBezTo>
                    <a:pt x="243" y="1393"/>
                    <a:pt x="287" y="1401"/>
                    <a:pt x="315" y="1404"/>
                  </a:cubicBezTo>
                  <a:cubicBezTo>
                    <a:pt x="402" y="1413"/>
                    <a:pt x="547" y="1399"/>
                    <a:pt x="586" y="1387"/>
                  </a:cubicBezTo>
                  <a:cubicBezTo>
                    <a:pt x="641" y="1371"/>
                    <a:pt x="642" y="1337"/>
                    <a:pt x="605" y="1286"/>
                  </a:cubicBezTo>
                  <a:cubicBezTo>
                    <a:pt x="597" y="1261"/>
                    <a:pt x="598" y="1245"/>
                    <a:pt x="609" y="1223"/>
                  </a:cubicBezTo>
                  <a:cubicBezTo>
                    <a:pt x="625" y="1206"/>
                    <a:pt x="644" y="1195"/>
                    <a:pt x="630" y="1174"/>
                  </a:cubicBezTo>
                  <a:cubicBezTo>
                    <a:pt x="630" y="1174"/>
                    <a:pt x="504" y="1147"/>
                    <a:pt x="590" y="1133"/>
                  </a:cubicBezTo>
                  <a:cubicBezTo>
                    <a:pt x="679" y="1118"/>
                    <a:pt x="650" y="1082"/>
                    <a:pt x="650" y="1082"/>
                  </a:cubicBezTo>
                  <a:cubicBezTo>
                    <a:pt x="650" y="1082"/>
                    <a:pt x="635" y="1045"/>
                    <a:pt x="621" y="1018"/>
                  </a:cubicBezTo>
                  <a:cubicBezTo>
                    <a:pt x="611" y="998"/>
                    <a:pt x="695" y="991"/>
                    <a:pt x="704" y="959"/>
                  </a:cubicBezTo>
                  <a:cubicBezTo>
                    <a:pt x="724" y="932"/>
                    <a:pt x="661" y="871"/>
                    <a:pt x="639" y="84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8"/>
            <p:cNvSpPr>
              <a:spLocks noChangeAspect="1"/>
            </p:cNvSpPr>
            <p:nvPr/>
          </p:nvSpPr>
          <p:spPr bwMode="auto">
            <a:xfrm>
              <a:off x="1352" y="681"/>
              <a:ext cx="1829" cy="3153"/>
            </a:xfrm>
            <a:custGeom>
              <a:avLst/>
              <a:gdLst>
                <a:gd name="T0" fmla="*/ 1974 w 2011"/>
                <a:gd name="T1" fmla="*/ 2106 h 3449"/>
                <a:gd name="T2" fmla="*/ 0 w 2011"/>
                <a:gd name="T3" fmla="*/ 3449 h 3449"/>
                <a:gd name="T4" fmla="*/ 1972 w 2011"/>
                <a:gd name="T5" fmla="*/ 0 h 3449"/>
                <a:gd name="T6" fmla="*/ 1980 w 2011"/>
                <a:gd name="T7" fmla="*/ 347 h 3449"/>
                <a:gd name="T8" fmla="*/ 1982 w 2011"/>
                <a:gd name="T9" fmla="*/ 392 h 3449"/>
                <a:gd name="T10" fmla="*/ 1923 w 2011"/>
                <a:gd name="T11" fmla="*/ 324 h 3449"/>
                <a:gd name="T12" fmla="*/ 1878 w 2011"/>
                <a:gd name="T13" fmla="*/ 384 h 3449"/>
                <a:gd name="T14" fmla="*/ 1858 w 2011"/>
                <a:gd name="T15" fmla="*/ 411 h 3449"/>
                <a:gd name="T16" fmla="*/ 1823 w 2011"/>
                <a:gd name="T17" fmla="*/ 348 h 3449"/>
                <a:gd name="T18" fmla="*/ 1766 w 2011"/>
                <a:gd name="T19" fmla="*/ 359 h 3449"/>
                <a:gd name="T20" fmla="*/ 1702 w 2011"/>
                <a:gd name="T21" fmla="*/ 494 h 3449"/>
                <a:gd name="T22" fmla="*/ 1680 w 2011"/>
                <a:gd name="T23" fmla="*/ 420 h 3449"/>
                <a:gd name="T24" fmla="*/ 1605 w 2011"/>
                <a:gd name="T25" fmla="*/ 427 h 3449"/>
                <a:gd name="T26" fmla="*/ 1609 w 2011"/>
                <a:gd name="T27" fmla="*/ 499 h 3449"/>
                <a:gd name="T28" fmla="*/ 1520 w 2011"/>
                <a:gd name="T29" fmla="*/ 498 h 3449"/>
                <a:gd name="T30" fmla="*/ 1513 w 2011"/>
                <a:gd name="T31" fmla="*/ 560 h 3449"/>
                <a:gd name="T32" fmla="*/ 1407 w 2011"/>
                <a:gd name="T33" fmla="*/ 521 h 3449"/>
                <a:gd name="T34" fmla="*/ 1521 w 2011"/>
                <a:gd name="T35" fmla="*/ 578 h 3449"/>
                <a:gd name="T36" fmla="*/ 1453 w 2011"/>
                <a:gd name="T37" fmla="*/ 612 h 3449"/>
                <a:gd name="T38" fmla="*/ 1441 w 2011"/>
                <a:gd name="T39" fmla="*/ 603 h 3449"/>
                <a:gd name="T40" fmla="*/ 1404 w 2011"/>
                <a:gd name="T41" fmla="*/ 640 h 3449"/>
                <a:gd name="T42" fmla="*/ 1448 w 2011"/>
                <a:gd name="T43" fmla="*/ 632 h 3449"/>
                <a:gd name="T44" fmla="*/ 1433 w 2011"/>
                <a:gd name="T45" fmla="*/ 703 h 3449"/>
                <a:gd name="T46" fmla="*/ 1392 w 2011"/>
                <a:gd name="T47" fmla="*/ 719 h 3449"/>
                <a:gd name="T48" fmla="*/ 1410 w 2011"/>
                <a:gd name="T49" fmla="*/ 785 h 3449"/>
                <a:gd name="T50" fmla="*/ 1321 w 2011"/>
                <a:gd name="T51" fmla="*/ 761 h 3449"/>
                <a:gd name="T52" fmla="*/ 1255 w 2011"/>
                <a:gd name="T53" fmla="*/ 760 h 3449"/>
                <a:gd name="T54" fmla="*/ 1205 w 2011"/>
                <a:gd name="T55" fmla="*/ 829 h 3449"/>
                <a:gd name="T56" fmla="*/ 1350 w 2011"/>
                <a:gd name="T57" fmla="*/ 845 h 3449"/>
                <a:gd name="T58" fmla="*/ 1308 w 2011"/>
                <a:gd name="T59" fmla="*/ 881 h 3449"/>
                <a:gd name="T60" fmla="*/ 1308 w 2011"/>
                <a:gd name="T61" fmla="*/ 953 h 3449"/>
                <a:gd name="T62" fmla="*/ 1358 w 2011"/>
                <a:gd name="T63" fmla="*/ 951 h 3449"/>
                <a:gd name="T64" fmla="*/ 1319 w 2011"/>
                <a:gd name="T65" fmla="*/ 1061 h 3449"/>
                <a:gd name="T66" fmla="*/ 1324 w 2011"/>
                <a:gd name="T67" fmla="*/ 1115 h 3449"/>
                <a:gd name="T68" fmla="*/ 1283 w 2011"/>
                <a:gd name="T69" fmla="*/ 1185 h 3449"/>
                <a:gd name="T70" fmla="*/ 1257 w 2011"/>
                <a:gd name="T71" fmla="*/ 1226 h 3449"/>
                <a:gd name="T72" fmla="*/ 1285 w 2011"/>
                <a:gd name="T73" fmla="*/ 1267 h 3449"/>
                <a:gd name="T74" fmla="*/ 1314 w 2011"/>
                <a:gd name="T75" fmla="*/ 1311 h 3449"/>
                <a:gd name="T76" fmla="*/ 1363 w 2011"/>
                <a:gd name="T77" fmla="*/ 1376 h 3449"/>
                <a:gd name="T78" fmla="*/ 1438 w 2011"/>
                <a:gd name="T79" fmla="*/ 1413 h 3449"/>
                <a:gd name="T80" fmla="*/ 1494 w 2011"/>
                <a:gd name="T81" fmla="*/ 1379 h 3449"/>
                <a:gd name="T82" fmla="*/ 1513 w 2011"/>
                <a:gd name="T83" fmla="*/ 1471 h 3449"/>
                <a:gd name="T84" fmla="*/ 1605 w 2011"/>
                <a:gd name="T85" fmla="*/ 1474 h 3449"/>
                <a:gd name="T86" fmla="*/ 1584 w 2011"/>
                <a:gd name="T87" fmla="*/ 1525 h 3449"/>
                <a:gd name="T88" fmla="*/ 1618 w 2011"/>
                <a:gd name="T89" fmla="*/ 1559 h 3449"/>
                <a:gd name="T90" fmla="*/ 1644 w 2011"/>
                <a:gd name="T91" fmla="*/ 1602 h 3449"/>
                <a:gd name="T92" fmla="*/ 1700 w 2011"/>
                <a:gd name="T93" fmla="*/ 1594 h 3449"/>
                <a:gd name="T94" fmla="*/ 1729 w 2011"/>
                <a:gd name="T95" fmla="*/ 1535 h 3449"/>
                <a:gd name="T96" fmla="*/ 1794 w 2011"/>
                <a:gd name="T97" fmla="*/ 1574 h 3449"/>
                <a:gd name="T98" fmla="*/ 1808 w 2011"/>
                <a:gd name="T99" fmla="*/ 1711 h 3449"/>
                <a:gd name="T100" fmla="*/ 1870 w 2011"/>
                <a:gd name="T101" fmla="*/ 1688 h 3449"/>
                <a:gd name="T102" fmla="*/ 1839 w 2011"/>
                <a:gd name="T103" fmla="*/ 1844 h 3449"/>
                <a:gd name="T104" fmla="*/ 1446 w 2011"/>
                <a:gd name="T105" fmla="*/ 2092 h 3449"/>
                <a:gd name="T106" fmla="*/ 1654 w 2011"/>
                <a:gd name="T107" fmla="*/ 2103 h 3449"/>
                <a:gd name="T108" fmla="*/ 1974 w 2011"/>
                <a:gd name="T109" fmla="*/ 2105 h 3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11" h="3449">
                  <a:moveTo>
                    <a:pt x="1974" y="2106"/>
                  </a:moveTo>
                  <a:lnTo>
                    <a:pt x="1974" y="2106"/>
                  </a:lnTo>
                  <a:cubicBezTo>
                    <a:pt x="1903" y="2543"/>
                    <a:pt x="1782" y="2987"/>
                    <a:pt x="1602" y="3449"/>
                  </a:cubicBezTo>
                  <a:lnTo>
                    <a:pt x="0" y="3449"/>
                  </a:lnTo>
                  <a:lnTo>
                    <a:pt x="0" y="0"/>
                  </a:lnTo>
                  <a:lnTo>
                    <a:pt x="1972" y="0"/>
                  </a:lnTo>
                  <a:cubicBezTo>
                    <a:pt x="1988" y="113"/>
                    <a:pt x="1999" y="197"/>
                    <a:pt x="2011" y="309"/>
                  </a:cubicBezTo>
                  <a:cubicBezTo>
                    <a:pt x="2011" y="309"/>
                    <a:pt x="1977" y="320"/>
                    <a:pt x="1980" y="347"/>
                  </a:cubicBezTo>
                  <a:cubicBezTo>
                    <a:pt x="1984" y="378"/>
                    <a:pt x="1997" y="385"/>
                    <a:pt x="1997" y="385"/>
                  </a:cubicBezTo>
                  <a:lnTo>
                    <a:pt x="1982" y="392"/>
                  </a:lnTo>
                  <a:cubicBezTo>
                    <a:pt x="1982" y="392"/>
                    <a:pt x="1966" y="368"/>
                    <a:pt x="1966" y="369"/>
                  </a:cubicBezTo>
                  <a:cubicBezTo>
                    <a:pt x="1966" y="346"/>
                    <a:pt x="1976" y="311"/>
                    <a:pt x="1923" y="324"/>
                  </a:cubicBezTo>
                  <a:cubicBezTo>
                    <a:pt x="1904" y="365"/>
                    <a:pt x="1952" y="373"/>
                    <a:pt x="1939" y="401"/>
                  </a:cubicBezTo>
                  <a:cubicBezTo>
                    <a:pt x="1883" y="404"/>
                    <a:pt x="1923" y="359"/>
                    <a:pt x="1878" y="384"/>
                  </a:cubicBezTo>
                  <a:cubicBezTo>
                    <a:pt x="1881" y="371"/>
                    <a:pt x="1871" y="336"/>
                    <a:pt x="1857" y="339"/>
                  </a:cubicBezTo>
                  <a:cubicBezTo>
                    <a:pt x="1851" y="358"/>
                    <a:pt x="1836" y="391"/>
                    <a:pt x="1858" y="411"/>
                  </a:cubicBezTo>
                  <a:cubicBezTo>
                    <a:pt x="1851" y="416"/>
                    <a:pt x="1830" y="413"/>
                    <a:pt x="1825" y="406"/>
                  </a:cubicBezTo>
                  <a:cubicBezTo>
                    <a:pt x="1819" y="396"/>
                    <a:pt x="1840" y="379"/>
                    <a:pt x="1823" y="348"/>
                  </a:cubicBezTo>
                  <a:cubicBezTo>
                    <a:pt x="1771" y="371"/>
                    <a:pt x="1819" y="421"/>
                    <a:pt x="1776" y="440"/>
                  </a:cubicBezTo>
                  <a:cubicBezTo>
                    <a:pt x="1729" y="434"/>
                    <a:pt x="1803" y="394"/>
                    <a:pt x="1766" y="359"/>
                  </a:cubicBezTo>
                  <a:cubicBezTo>
                    <a:pt x="1723" y="369"/>
                    <a:pt x="1707" y="413"/>
                    <a:pt x="1724" y="439"/>
                  </a:cubicBezTo>
                  <a:cubicBezTo>
                    <a:pt x="1723" y="462"/>
                    <a:pt x="1705" y="474"/>
                    <a:pt x="1702" y="494"/>
                  </a:cubicBezTo>
                  <a:cubicBezTo>
                    <a:pt x="1681" y="491"/>
                    <a:pt x="1672" y="483"/>
                    <a:pt x="1670" y="475"/>
                  </a:cubicBezTo>
                  <a:cubicBezTo>
                    <a:pt x="1667" y="460"/>
                    <a:pt x="1708" y="453"/>
                    <a:pt x="1680" y="420"/>
                  </a:cubicBezTo>
                  <a:cubicBezTo>
                    <a:pt x="1635" y="427"/>
                    <a:pt x="1665" y="500"/>
                    <a:pt x="1629" y="461"/>
                  </a:cubicBezTo>
                  <a:cubicBezTo>
                    <a:pt x="1626" y="444"/>
                    <a:pt x="1614" y="429"/>
                    <a:pt x="1605" y="427"/>
                  </a:cubicBezTo>
                  <a:cubicBezTo>
                    <a:pt x="1588" y="439"/>
                    <a:pt x="1580" y="459"/>
                    <a:pt x="1591" y="476"/>
                  </a:cubicBezTo>
                  <a:lnTo>
                    <a:pt x="1609" y="499"/>
                  </a:lnTo>
                  <a:cubicBezTo>
                    <a:pt x="1607" y="499"/>
                    <a:pt x="1617" y="513"/>
                    <a:pt x="1615" y="512"/>
                  </a:cubicBezTo>
                  <a:cubicBezTo>
                    <a:pt x="1585" y="488"/>
                    <a:pt x="1545" y="471"/>
                    <a:pt x="1520" y="498"/>
                  </a:cubicBezTo>
                  <a:cubicBezTo>
                    <a:pt x="1523" y="523"/>
                    <a:pt x="1545" y="525"/>
                    <a:pt x="1579" y="533"/>
                  </a:cubicBezTo>
                  <a:cubicBezTo>
                    <a:pt x="1536" y="537"/>
                    <a:pt x="1527" y="552"/>
                    <a:pt x="1513" y="560"/>
                  </a:cubicBezTo>
                  <a:cubicBezTo>
                    <a:pt x="1508" y="532"/>
                    <a:pt x="1475" y="527"/>
                    <a:pt x="1444" y="523"/>
                  </a:cubicBezTo>
                  <a:cubicBezTo>
                    <a:pt x="1426" y="527"/>
                    <a:pt x="1415" y="515"/>
                    <a:pt x="1407" y="521"/>
                  </a:cubicBezTo>
                  <a:cubicBezTo>
                    <a:pt x="1420" y="553"/>
                    <a:pt x="1451" y="578"/>
                    <a:pt x="1490" y="586"/>
                  </a:cubicBezTo>
                  <a:cubicBezTo>
                    <a:pt x="1507" y="584"/>
                    <a:pt x="1509" y="584"/>
                    <a:pt x="1521" y="578"/>
                  </a:cubicBezTo>
                  <a:cubicBezTo>
                    <a:pt x="1544" y="588"/>
                    <a:pt x="1542" y="592"/>
                    <a:pt x="1548" y="608"/>
                  </a:cubicBezTo>
                  <a:cubicBezTo>
                    <a:pt x="1514" y="623"/>
                    <a:pt x="1487" y="604"/>
                    <a:pt x="1453" y="612"/>
                  </a:cubicBezTo>
                  <a:cubicBezTo>
                    <a:pt x="1453" y="614"/>
                    <a:pt x="1445" y="614"/>
                    <a:pt x="1444" y="611"/>
                  </a:cubicBezTo>
                  <a:cubicBezTo>
                    <a:pt x="1445" y="611"/>
                    <a:pt x="1440" y="603"/>
                    <a:pt x="1441" y="603"/>
                  </a:cubicBezTo>
                  <a:cubicBezTo>
                    <a:pt x="1426" y="575"/>
                    <a:pt x="1387" y="586"/>
                    <a:pt x="1366" y="592"/>
                  </a:cubicBezTo>
                  <a:cubicBezTo>
                    <a:pt x="1363" y="614"/>
                    <a:pt x="1386" y="632"/>
                    <a:pt x="1404" y="640"/>
                  </a:cubicBezTo>
                  <a:cubicBezTo>
                    <a:pt x="1429" y="649"/>
                    <a:pt x="1438" y="641"/>
                    <a:pt x="1438" y="641"/>
                  </a:cubicBezTo>
                  <a:lnTo>
                    <a:pt x="1448" y="632"/>
                  </a:lnTo>
                  <a:cubicBezTo>
                    <a:pt x="1459" y="672"/>
                    <a:pt x="1473" y="674"/>
                    <a:pt x="1494" y="690"/>
                  </a:cubicBezTo>
                  <a:cubicBezTo>
                    <a:pt x="1471" y="698"/>
                    <a:pt x="1462" y="705"/>
                    <a:pt x="1433" y="703"/>
                  </a:cubicBezTo>
                  <a:cubicBezTo>
                    <a:pt x="1400" y="652"/>
                    <a:pt x="1301" y="630"/>
                    <a:pt x="1305" y="654"/>
                  </a:cubicBezTo>
                  <a:cubicBezTo>
                    <a:pt x="1319" y="706"/>
                    <a:pt x="1392" y="719"/>
                    <a:pt x="1392" y="719"/>
                  </a:cubicBezTo>
                  <a:cubicBezTo>
                    <a:pt x="1392" y="719"/>
                    <a:pt x="1354" y="733"/>
                    <a:pt x="1360" y="746"/>
                  </a:cubicBezTo>
                  <a:cubicBezTo>
                    <a:pt x="1367" y="758"/>
                    <a:pt x="1417" y="766"/>
                    <a:pt x="1410" y="785"/>
                  </a:cubicBezTo>
                  <a:cubicBezTo>
                    <a:pt x="1358" y="762"/>
                    <a:pt x="1348" y="771"/>
                    <a:pt x="1383" y="817"/>
                  </a:cubicBezTo>
                  <a:cubicBezTo>
                    <a:pt x="1339" y="819"/>
                    <a:pt x="1349" y="772"/>
                    <a:pt x="1321" y="761"/>
                  </a:cubicBezTo>
                  <a:cubicBezTo>
                    <a:pt x="1301" y="775"/>
                    <a:pt x="1313" y="806"/>
                    <a:pt x="1313" y="806"/>
                  </a:cubicBezTo>
                  <a:cubicBezTo>
                    <a:pt x="1303" y="798"/>
                    <a:pt x="1277" y="754"/>
                    <a:pt x="1255" y="760"/>
                  </a:cubicBezTo>
                  <a:cubicBezTo>
                    <a:pt x="1248" y="765"/>
                    <a:pt x="1248" y="789"/>
                    <a:pt x="1265" y="805"/>
                  </a:cubicBezTo>
                  <a:cubicBezTo>
                    <a:pt x="1244" y="809"/>
                    <a:pt x="1210" y="806"/>
                    <a:pt x="1205" y="829"/>
                  </a:cubicBezTo>
                  <a:cubicBezTo>
                    <a:pt x="1239" y="855"/>
                    <a:pt x="1276" y="855"/>
                    <a:pt x="1329" y="849"/>
                  </a:cubicBezTo>
                  <a:cubicBezTo>
                    <a:pt x="1329" y="849"/>
                    <a:pt x="1339" y="848"/>
                    <a:pt x="1350" y="845"/>
                  </a:cubicBezTo>
                  <a:cubicBezTo>
                    <a:pt x="1360" y="842"/>
                    <a:pt x="1375" y="856"/>
                    <a:pt x="1375" y="856"/>
                  </a:cubicBezTo>
                  <a:cubicBezTo>
                    <a:pt x="1349" y="862"/>
                    <a:pt x="1360" y="870"/>
                    <a:pt x="1308" y="881"/>
                  </a:cubicBezTo>
                  <a:cubicBezTo>
                    <a:pt x="1274" y="897"/>
                    <a:pt x="1247" y="918"/>
                    <a:pt x="1247" y="953"/>
                  </a:cubicBezTo>
                  <a:cubicBezTo>
                    <a:pt x="1268" y="963"/>
                    <a:pt x="1294" y="973"/>
                    <a:pt x="1308" y="953"/>
                  </a:cubicBezTo>
                  <a:cubicBezTo>
                    <a:pt x="1331" y="920"/>
                    <a:pt x="1324" y="946"/>
                    <a:pt x="1340" y="945"/>
                  </a:cubicBezTo>
                  <a:lnTo>
                    <a:pt x="1358" y="951"/>
                  </a:lnTo>
                  <a:cubicBezTo>
                    <a:pt x="1344" y="986"/>
                    <a:pt x="1264" y="985"/>
                    <a:pt x="1279" y="1011"/>
                  </a:cubicBezTo>
                  <a:cubicBezTo>
                    <a:pt x="1295" y="1035"/>
                    <a:pt x="1319" y="1061"/>
                    <a:pt x="1319" y="1061"/>
                  </a:cubicBezTo>
                  <a:cubicBezTo>
                    <a:pt x="1319" y="1061"/>
                    <a:pt x="1263" y="1032"/>
                    <a:pt x="1247" y="1053"/>
                  </a:cubicBezTo>
                  <a:cubicBezTo>
                    <a:pt x="1232" y="1071"/>
                    <a:pt x="1265" y="1102"/>
                    <a:pt x="1324" y="1115"/>
                  </a:cubicBezTo>
                  <a:cubicBezTo>
                    <a:pt x="1304" y="1128"/>
                    <a:pt x="1233" y="1115"/>
                    <a:pt x="1276" y="1160"/>
                  </a:cubicBezTo>
                  <a:cubicBezTo>
                    <a:pt x="1225" y="1181"/>
                    <a:pt x="1242" y="1196"/>
                    <a:pt x="1283" y="1185"/>
                  </a:cubicBezTo>
                  <a:lnTo>
                    <a:pt x="1303" y="1188"/>
                  </a:lnTo>
                  <a:cubicBezTo>
                    <a:pt x="1291" y="1196"/>
                    <a:pt x="1254" y="1213"/>
                    <a:pt x="1257" y="1226"/>
                  </a:cubicBezTo>
                  <a:cubicBezTo>
                    <a:pt x="1259" y="1243"/>
                    <a:pt x="1300" y="1222"/>
                    <a:pt x="1307" y="1235"/>
                  </a:cubicBezTo>
                  <a:cubicBezTo>
                    <a:pt x="1310" y="1254"/>
                    <a:pt x="1287" y="1262"/>
                    <a:pt x="1285" y="1267"/>
                  </a:cubicBezTo>
                  <a:cubicBezTo>
                    <a:pt x="1314" y="1286"/>
                    <a:pt x="1331" y="1241"/>
                    <a:pt x="1358" y="1267"/>
                  </a:cubicBezTo>
                  <a:cubicBezTo>
                    <a:pt x="1348" y="1286"/>
                    <a:pt x="1305" y="1282"/>
                    <a:pt x="1314" y="1311"/>
                  </a:cubicBezTo>
                  <a:cubicBezTo>
                    <a:pt x="1330" y="1323"/>
                    <a:pt x="1357" y="1318"/>
                    <a:pt x="1373" y="1329"/>
                  </a:cubicBezTo>
                  <a:cubicBezTo>
                    <a:pt x="1373" y="1329"/>
                    <a:pt x="1351" y="1371"/>
                    <a:pt x="1363" y="1376"/>
                  </a:cubicBezTo>
                  <a:cubicBezTo>
                    <a:pt x="1386" y="1388"/>
                    <a:pt x="1408" y="1351"/>
                    <a:pt x="1416" y="1349"/>
                  </a:cubicBezTo>
                  <a:cubicBezTo>
                    <a:pt x="1410" y="1396"/>
                    <a:pt x="1450" y="1380"/>
                    <a:pt x="1438" y="1413"/>
                  </a:cubicBezTo>
                  <a:cubicBezTo>
                    <a:pt x="1438" y="1430"/>
                    <a:pt x="1436" y="1454"/>
                    <a:pt x="1454" y="1463"/>
                  </a:cubicBezTo>
                  <a:cubicBezTo>
                    <a:pt x="1491" y="1452"/>
                    <a:pt x="1495" y="1423"/>
                    <a:pt x="1494" y="1379"/>
                  </a:cubicBezTo>
                  <a:cubicBezTo>
                    <a:pt x="1494" y="1364"/>
                    <a:pt x="1537" y="1389"/>
                    <a:pt x="1537" y="1389"/>
                  </a:cubicBezTo>
                  <a:cubicBezTo>
                    <a:pt x="1563" y="1410"/>
                    <a:pt x="1492" y="1426"/>
                    <a:pt x="1513" y="1471"/>
                  </a:cubicBezTo>
                  <a:cubicBezTo>
                    <a:pt x="1573" y="1479"/>
                    <a:pt x="1573" y="1428"/>
                    <a:pt x="1621" y="1419"/>
                  </a:cubicBezTo>
                  <a:cubicBezTo>
                    <a:pt x="1643" y="1433"/>
                    <a:pt x="1612" y="1457"/>
                    <a:pt x="1605" y="1474"/>
                  </a:cubicBezTo>
                  <a:cubicBezTo>
                    <a:pt x="1575" y="1491"/>
                    <a:pt x="1538" y="1471"/>
                    <a:pt x="1509" y="1530"/>
                  </a:cubicBezTo>
                  <a:cubicBezTo>
                    <a:pt x="1551" y="1546"/>
                    <a:pt x="1570" y="1533"/>
                    <a:pt x="1584" y="1525"/>
                  </a:cubicBezTo>
                  <a:cubicBezTo>
                    <a:pt x="1597" y="1516"/>
                    <a:pt x="1596" y="1511"/>
                    <a:pt x="1606" y="1507"/>
                  </a:cubicBezTo>
                  <a:cubicBezTo>
                    <a:pt x="1607" y="1523"/>
                    <a:pt x="1603" y="1553"/>
                    <a:pt x="1618" y="1559"/>
                  </a:cubicBezTo>
                  <a:cubicBezTo>
                    <a:pt x="1632" y="1558"/>
                    <a:pt x="1633" y="1553"/>
                    <a:pt x="1645" y="1546"/>
                  </a:cubicBezTo>
                  <a:cubicBezTo>
                    <a:pt x="1657" y="1558"/>
                    <a:pt x="1626" y="1589"/>
                    <a:pt x="1644" y="1602"/>
                  </a:cubicBezTo>
                  <a:cubicBezTo>
                    <a:pt x="1661" y="1599"/>
                    <a:pt x="1667" y="1583"/>
                    <a:pt x="1667" y="1583"/>
                  </a:cubicBezTo>
                  <a:cubicBezTo>
                    <a:pt x="1677" y="1597"/>
                    <a:pt x="1689" y="1597"/>
                    <a:pt x="1700" y="1594"/>
                  </a:cubicBezTo>
                  <a:cubicBezTo>
                    <a:pt x="1706" y="1579"/>
                    <a:pt x="1707" y="1545"/>
                    <a:pt x="1688" y="1533"/>
                  </a:cubicBezTo>
                  <a:cubicBezTo>
                    <a:pt x="1697" y="1522"/>
                    <a:pt x="1720" y="1543"/>
                    <a:pt x="1729" y="1535"/>
                  </a:cubicBezTo>
                  <a:cubicBezTo>
                    <a:pt x="1748" y="1557"/>
                    <a:pt x="1707" y="1600"/>
                    <a:pt x="1737" y="1618"/>
                  </a:cubicBezTo>
                  <a:cubicBezTo>
                    <a:pt x="1766" y="1615"/>
                    <a:pt x="1765" y="1586"/>
                    <a:pt x="1794" y="1574"/>
                  </a:cubicBezTo>
                  <a:cubicBezTo>
                    <a:pt x="1789" y="1604"/>
                    <a:pt x="1824" y="1626"/>
                    <a:pt x="1779" y="1648"/>
                  </a:cubicBezTo>
                  <a:cubicBezTo>
                    <a:pt x="1779" y="1677"/>
                    <a:pt x="1834" y="1669"/>
                    <a:pt x="1808" y="1711"/>
                  </a:cubicBezTo>
                  <a:cubicBezTo>
                    <a:pt x="1818" y="1728"/>
                    <a:pt x="1831" y="1721"/>
                    <a:pt x="1843" y="1718"/>
                  </a:cubicBezTo>
                  <a:lnTo>
                    <a:pt x="1870" y="1688"/>
                  </a:lnTo>
                  <a:cubicBezTo>
                    <a:pt x="1862" y="1712"/>
                    <a:pt x="1860" y="1750"/>
                    <a:pt x="1867" y="1777"/>
                  </a:cubicBezTo>
                  <a:cubicBezTo>
                    <a:pt x="1858" y="1800"/>
                    <a:pt x="1879" y="1825"/>
                    <a:pt x="1839" y="1844"/>
                  </a:cubicBezTo>
                  <a:cubicBezTo>
                    <a:pt x="1828" y="1900"/>
                    <a:pt x="1827" y="1956"/>
                    <a:pt x="1763" y="1992"/>
                  </a:cubicBezTo>
                  <a:cubicBezTo>
                    <a:pt x="1726" y="2060"/>
                    <a:pt x="1497" y="2024"/>
                    <a:pt x="1446" y="2092"/>
                  </a:cubicBezTo>
                  <a:cubicBezTo>
                    <a:pt x="1459" y="2104"/>
                    <a:pt x="1576" y="2100"/>
                    <a:pt x="1591" y="2096"/>
                  </a:cubicBezTo>
                  <a:cubicBezTo>
                    <a:pt x="1613" y="2085"/>
                    <a:pt x="1631" y="2104"/>
                    <a:pt x="1654" y="2103"/>
                  </a:cubicBezTo>
                  <a:cubicBezTo>
                    <a:pt x="1705" y="2103"/>
                    <a:pt x="1767" y="2086"/>
                    <a:pt x="1809" y="2103"/>
                  </a:cubicBezTo>
                  <a:cubicBezTo>
                    <a:pt x="1869" y="2103"/>
                    <a:pt x="1920" y="2105"/>
                    <a:pt x="1974" y="2105"/>
                  </a:cubicBezTo>
                  <a:lnTo>
                    <a:pt x="1974" y="2106"/>
                  </a:ln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9"/>
            <p:cNvSpPr>
              <a:spLocks noChangeAspect="1" noEditPoints="1"/>
            </p:cNvSpPr>
            <p:nvPr/>
          </p:nvSpPr>
          <p:spPr bwMode="auto">
            <a:xfrm>
              <a:off x="3235" y="2758"/>
              <a:ext cx="581" cy="570"/>
            </a:xfrm>
            <a:custGeom>
              <a:avLst/>
              <a:gdLst>
                <a:gd name="T0" fmla="*/ 321 w 639"/>
                <a:gd name="T1" fmla="*/ 621 h 621"/>
                <a:gd name="T2" fmla="*/ 321 w 639"/>
                <a:gd name="T3" fmla="*/ 621 h 621"/>
                <a:gd name="T4" fmla="*/ 639 w 639"/>
                <a:gd name="T5" fmla="*/ 307 h 621"/>
                <a:gd name="T6" fmla="*/ 321 w 639"/>
                <a:gd name="T7" fmla="*/ 0 h 621"/>
                <a:gd name="T8" fmla="*/ 0 w 639"/>
                <a:gd name="T9" fmla="*/ 307 h 621"/>
                <a:gd name="T10" fmla="*/ 321 w 639"/>
                <a:gd name="T11" fmla="*/ 621 h 621"/>
                <a:gd name="T12" fmla="*/ 321 w 639"/>
                <a:gd name="T13" fmla="*/ 621 h 621"/>
                <a:gd name="T14" fmla="*/ 162 w 639"/>
                <a:gd name="T15" fmla="*/ 307 h 621"/>
                <a:gd name="T16" fmla="*/ 162 w 639"/>
                <a:gd name="T17" fmla="*/ 307 h 621"/>
                <a:gd name="T18" fmla="*/ 321 w 639"/>
                <a:gd name="T19" fmla="*/ 125 h 621"/>
                <a:gd name="T20" fmla="*/ 477 w 639"/>
                <a:gd name="T21" fmla="*/ 307 h 621"/>
                <a:gd name="T22" fmla="*/ 321 w 639"/>
                <a:gd name="T23" fmla="*/ 495 h 621"/>
                <a:gd name="T24" fmla="*/ 162 w 639"/>
                <a:gd name="T25" fmla="*/ 307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9" h="621">
                  <a:moveTo>
                    <a:pt x="321" y="621"/>
                  </a:moveTo>
                  <a:lnTo>
                    <a:pt x="321" y="621"/>
                  </a:lnTo>
                  <a:cubicBezTo>
                    <a:pt x="512" y="621"/>
                    <a:pt x="639" y="480"/>
                    <a:pt x="639" y="307"/>
                  </a:cubicBezTo>
                  <a:cubicBezTo>
                    <a:pt x="639" y="124"/>
                    <a:pt x="511" y="0"/>
                    <a:pt x="321" y="0"/>
                  </a:cubicBezTo>
                  <a:cubicBezTo>
                    <a:pt x="130" y="0"/>
                    <a:pt x="0" y="121"/>
                    <a:pt x="0" y="307"/>
                  </a:cubicBezTo>
                  <a:cubicBezTo>
                    <a:pt x="0" y="489"/>
                    <a:pt x="132" y="621"/>
                    <a:pt x="321" y="621"/>
                  </a:cubicBezTo>
                  <a:lnTo>
                    <a:pt x="321" y="621"/>
                  </a:lnTo>
                  <a:close/>
                  <a:moveTo>
                    <a:pt x="162" y="307"/>
                  </a:moveTo>
                  <a:lnTo>
                    <a:pt x="162" y="307"/>
                  </a:lnTo>
                  <a:cubicBezTo>
                    <a:pt x="162" y="198"/>
                    <a:pt x="214" y="125"/>
                    <a:pt x="321" y="125"/>
                  </a:cubicBezTo>
                  <a:cubicBezTo>
                    <a:pt x="425" y="125"/>
                    <a:pt x="477" y="192"/>
                    <a:pt x="477" y="307"/>
                  </a:cubicBezTo>
                  <a:cubicBezTo>
                    <a:pt x="477" y="413"/>
                    <a:pt x="426" y="495"/>
                    <a:pt x="321" y="495"/>
                  </a:cubicBezTo>
                  <a:cubicBezTo>
                    <a:pt x="220" y="495"/>
                    <a:pt x="162" y="415"/>
                    <a:pt x="162" y="3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30"/>
            <p:cNvSpPr>
              <a:spLocks noChangeAspect="1"/>
            </p:cNvSpPr>
            <p:nvPr/>
          </p:nvSpPr>
          <p:spPr bwMode="auto">
            <a:xfrm>
              <a:off x="3892" y="2758"/>
              <a:ext cx="409" cy="570"/>
            </a:xfrm>
            <a:custGeom>
              <a:avLst/>
              <a:gdLst>
                <a:gd name="T0" fmla="*/ 377 w 441"/>
                <a:gd name="T1" fmla="*/ 128 h 621"/>
                <a:gd name="T2" fmla="*/ 377 w 441"/>
                <a:gd name="T3" fmla="*/ 128 h 621"/>
                <a:gd name="T4" fmla="*/ 270 w 441"/>
                <a:gd name="T5" fmla="*/ 114 h 621"/>
                <a:gd name="T6" fmla="*/ 163 w 441"/>
                <a:gd name="T7" fmla="*/ 160 h 621"/>
                <a:gd name="T8" fmla="*/ 290 w 441"/>
                <a:gd name="T9" fmla="*/ 260 h 621"/>
                <a:gd name="T10" fmla="*/ 441 w 441"/>
                <a:gd name="T11" fmla="*/ 443 h 621"/>
                <a:gd name="T12" fmla="*/ 187 w 441"/>
                <a:gd name="T13" fmla="*/ 621 h 621"/>
                <a:gd name="T14" fmla="*/ 11 w 441"/>
                <a:gd name="T15" fmla="*/ 594 h 621"/>
                <a:gd name="T16" fmla="*/ 11 w 441"/>
                <a:gd name="T17" fmla="*/ 469 h 621"/>
                <a:gd name="T18" fmla="*/ 193 w 441"/>
                <a:gd name="T19" fmla="*/ 506 h 621"/>
                <a:gd name="T20" fmla="*/ 279 w 441"/>
                <a:gd name="T21" fmla="*/ 448 h 621"/>
                <a:gd name="T22" fmla="*/ 153 w 441"/>
                <a:gd name="T23" fmla="*/ 349 h 621"/>
                <a:gd name="T24" fmla="*/ 0 w 441"/>
                <a:gd name="T25" fmla="*/ 160 h 621"/>
                <a:gd name="T26" fmla="*/ 243 w 441"/>
                <a:gd name="T27" fmla="*/ 0 h 621"/>
                <a:gd name="T28" fmla="*/ 377 w 441"/>
                <a:gd name="T29" fmla="*/ 10 h 621"/>
                <a:gd name="T30" fmla="*/ 377 w 441"/>
                <a:gd name="T31" fmla="*/ 128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41" h="621">
                  <a:moveTo>
                    <a:pt x="377" y="128"/>
                  </a:moveTo>
                  <a:lnTo>
                    <a:pt x="377" y="128"/>
                  </a:lnTo>
                  <a:cubicBezTo>
                    <a:pt x="341" y="122"/>
                    <a:pt x="306" y="114"/>
                    <a:pt x="270" y="114"/>
                  </a:cubicBezTo>
                  <a:cubicBezTo>
                    <a:pt x="207" y="114"/>
                    <a:pt x="163" y="129"/>
                    <a:pt x="163" y="160"/>
                  </a:cubicBezTo>
                  <a:cubicBezTo>
                    <a:pt x="163" y="195"/>
                    <a:pt x="223" y="224"/>
                    <a:pt x="290" y="260"/>
                  </a:cubicBezTo>
                  <a:cubicBezTo>
                    <a:pt x="353" y="294"/>
                    <a:pt x="441" y="340"/>
                    <a:pt x="441" y="443"/>
                  </a:cubicBezTo>
                  <a:cubicBezTo>
                    <a:pt x="441" y="557"/>
                    <a:pt x="340" y="621"/>
                    <a:pt x="187" y="621"/>
                  </a:cubicBezTo>
                  <a:cubicBezTo>
                    <a:pt x="117" y="621"/>
                    <a:pt x="69" y="607"/>
                    <a:pt x="11" y="594"/>
                  </a:cubicBezTo>
                  <a:lnTo>
                    <a:pt x="11" y="469"/>
                  </a:lnTo>
                  <a:cubicBezTo>
                    <a:pt x="56" y="482"/>
                    <a:pt x="128" y="506"/>
                    <a:pt x="193" y="506"/>
                  </a:cubicBezTo>
                  <a:cubicBezTo>
                    <a:pt x="236" y="506"/>
                    <a:pt x="279" y="487"/>
                    <a:pt x="279" y="448"/>
                  </a:cubicBezTo>
                  <a:cubicBezTo>
                    <a:pt x="279" y="412"/>
                    <a:pt x="227" y="391"/>
                    <a:pt x="153" y="349"/>
                  </a:cubicBezTo>
                  <a:cubicBezTo>
                    <a:pt x="86" y="316"/>
                    <a:pt x="0" y="247"/>
                    <a:pt x="0" y="160"/>
                  </a:cubicBezTo>
                  <a:cubicBezTo>
                    <a:pt x="0" y="57"/>
                    <a:pt x="104" y="0"/>
                    <a:pt x="243" y="0"/>
                  </a:cubicBezTo>
                  <a:cubicBezTo>
                    <a:pt x="288" y="0"/>
                    <a:pt x="333" y="4"/>
                    <a:pt x="377" y="10"/>
                  </a:cubicBezTo>
                  <a:lnTo>
                    <a:pt x="377" y="1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31"/>
            <p:cNvSpPr>
              <a:spLocks noChangeAspect="1"/>
            </p:cNvSpPr>
            <p:nvPr/>
          </p:nvSpPr>
          <p:spPr bwMode="auto">
            <a:xfrm>
              <a:off x="1772" y="2564"/>
              <a:ext cx="215" cy="743"/>
            </a:xfrm>
            <a:custGeom>
              <a:avLst/>
              <a:gdLst>
                <a:gd name="T0" fmla="*/ 18 w 229"/>
                <a:gd name="T1" fmla="*/ 817 h 817"/>
                <a:gd name="T2" fmla="*/ 18 w 229"/>
                <a:gd name="T3" fmla="*/ 817 h 817"/>
                <a:gd name="T4" fmla="*/ 24 w 229"/>
                <a:gd name="T5" fmla="*/ 606 h 817"/>
                <a:gd name="T6" fmla="*/ 24 w 229"/>
                <a:gd name="T7" fmla="*/ 287 h 817"/>
                <a:gd name="T8" fmla="*/ 0 w 229"/>
                <a:gd name="T9" fmla="*/ 0 h 817"/>
                <a:gd name="T10" fmla="*/ 211 w 229"/>
                <a:gd name="T11" fmla="*/ 0 h 817"/>
                <a:gd name="T12" fmla="*/ 205 w 229"/>
                <a:gd name="T13" fmla="*/ 232 h 817"/>
                <a:gd name="T14" fmla="*/ 205 w 229"/>
                <a:gd name="T15" fmla="*/ 530 h 817"/>
                <a:gd name="T16" fmla="*/ 229 w 229"/>
                <a:gd name="T17" fmla="*/ 817 h 817"/>
                <a:gd name="T18" fmla="*/ 18 w 229"/>
                <a:gd name="T19" fmla="*/ 817 h 8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9" h="817">
                  <a:moveTo>
                    <a:pt x="18" y="817"/>
                  </a:moveTo>
                  <a:lnTo>
                    <a:pt x="18" y="817"/>
                  </a:lnTo>
                  <a:cubicBezTo>
                    <a:pt x="22" y="750"/>
                    <a:pt x="24" y="699"/>
                    <a:pt x="24" y="606"/>
                  </a:cubicBezTo>
                  <a:lnTo>
                    <a:pt x="24" y="287"/>
                  </a:lnTo>
                  <a:cubicBezTo>
                    <a:pt x="24" y="172"/>
                    <a:pt x="17" y="85"/>
                    <a:pt x="0" y="0"/>
                  </a:cubicBezTo>
                  <a:lnTo>
                    <a:pt x="211" y="0"/>
                  </a:lnTo>
                  <a:cubicBezTo>
                    <a:pt x="211" y="59"/>
                    <a:pt x="205" y="140"/>
                    <a:pt x="205" y="232"/>
                  </a:cubicBezTo>
                  <a:lnTo>
                    <a:pt x="205" y="530"/>
                  </a:lnTo>
                  <a:cubicBezTo>
                    <a:pt x="205" y="614"/>
                    <a:pt x="218" y="739"/>
                    <a:pt x="229" y="817"/>
                  </a:cubicBezTo>
                  <a:lnTo>
                    <a:pt x="18" y="8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32"/>
            <p:cNvSpPr>
              <a:spLocks noChangeAspect="1" noEditPoints="1"/>
            </p:cNvSpPr>
            <p:nvPr/>
          </p:nvSpPr>
          <p:spPr bwMode="auto">
            <a:xfrm>
              <a:off x="2095" y="2758"/>
              <a:ext cx="602" cy="785"/>
            </a:xfrm>
            <a:custGeom>
              <a:avLst/>
              <a:gdLst>
                <a:gd name="T0" fmla="*/ 210 w 662"/>
                <a:gd name="T1" fmla="*/ 851 h 863"/>
                <a:gd name="T2" fmla="*/ 210 w 662"/>
                <a:gd name="T3" fmla="*/ 851 h 863"/>
                <a:gd name="T4" fmla="*/ 198 w 662"/>
                <a:gd name="T5" fmla="*/ 632 h 863"/>
                <a:gd name="T6" fmla="*/ 198 w 662"/>
                <a:gd name="T7" fmla="*/ 564 h 863"/>
                <a:gd name="T8" fmla="*/ 385 w 662"/>
                <a:gd name="T9" fmla="*/ 621 h 863"/>
                <a:gd name="T10" fmla="*/ 662 w 662"/>
                <a:gd name="T11" fmla="*/ 322 h 863"/>
                <a:gd name="T12" fmla="*/ 378 w 662"/>
                <a:gd name="T13" fmla="*/ 0 h 863"/>
                <a:gd name="T14" fmla="*/ 174 w 662"/>
                <a:gd name="T15" fmla="*/ 98 h 863"/>
                <a:gd name="T16" fmla="*/ 153 w 662"/>
                <a:gd name="T17" fmla="*/ 15 h 863"/>
                <a:gd name="T18" fmla="*/ 0 w 662"/>
                <a:gd name="T19" fmla="*/ 26 h 863"/>
                <a:gd name="T20" fmla="*/ 36 w 662"/>
                <a:gd name="T21" fmla="*/ 323 h 863"/>
                <a:gd name="T22" fmla="*/ 36 w 662"/>
                <a:gd name="T23" fmla="*/ 564 h 863"/>
                <a:gd name="T24" fmla="*/ 12 w 662"/>
                <a:gd name="T25" fmla="*/ 863 h 863"/>
                <a:gd name="T26" fmla="*/ 210 w 662"/>
                <a:gd name="T27" fmla="*/ 851 h 863"/>
                <a:gd name="T28" fmla="*/ 210 w 662"/>
                <a:gd name="T29" fmla="*/ 851 h 863"/>
                <a:gd name="T30" fmla="*/ 186 w 662"/>
                <a:gd name="T31" fmla="*/ 323 h 863"/>
                <a:gd name="T32" fmla="*/ 186 w 662"/>
                <a:gd name="T33" fmla="*/ 323 h 863"/>
                <a:gd name="T34" fmla="*/ 338 w 662"/>
                <a:gd name="T35" fmla="*/ 125 h 863"/>
                <a:gd name="T36" fmla="*/ 500 w 662"/>
                <a:gd name="T37" fmla="*/ 323 h 863"/>
                <a:gd name="T38" fmla="*/ 345 w 662"/>
                <a:gd name="T39" fmla="*/ 495 h 863"/>
                <a:gd name="T40" fmla="*/ 186 w 662"/>
                <a:gd name="T41" fmla="*/ 323 h 8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62" h="863">
                  <a:moveTo>
                    <a:pt x="210" y="851"/>
                  </a:moveTo>
                  <a:lnTo>
                    <a:pt x="210" y="851"/>
                  </a:lnTo>
                  <a:cubicBezTo>
                    <a:pt x="198" y="763"/>
                    <a:pt x="198" y="664"/>
                    <a:pt x="198" y="632"/>
                  </a:cubicBezTo>
                  <a:lnTo>
                    <a:pt x="198" y="564"/>
                  </a:lnTo>
                  <a:cubicBezTo>
                    <a:pt x="242" y="589"/>
                    <a:pt x="288" y="621"/>
                    <a:pt x="385" y="621"/>
                  </a:cubicBezTo>
                  <a:cubicBezTo>
                    <a:pt x="550" y="621"/>
                    <a:pt x="662" y="495"/>
                    <a:pt x="662" y="322"/>
                  </a:cubicBezTo>
                  <a:cubicBezTo>
                    <a:pt x="662" y="134"/>
                    <a:pt x="546" y="0"/>
                    <a:pt x="378" y="0"/>
                  </a:cubicBezTo>
                  <a:cubicBezTo>
                    <a:pt x="261" y="0"/>
                    <a:pt x="213" y="56"/>
                    <a:pt x="174" y="98"/>
                  </a:cubicBezTo>
                  <a:cubicBezTo>
                    <a:pt x="166" y="67"/>
                    <a:pt x="162" y="41"/>
                    <a:pt x="153" y="15"/>
                  </a:cubicBezTo>
                  <a:lnTo>
                    <a:pt x="0" y="26"/>
                  </a:lnTo>
                  <a:cubicBezTo>
                    <a:pt x="19" y="127"/>
                    <a:pt x="36" y="220"/>
                    <a:pt x="36" y="323"/>
                  </a:cubicBezTo>
                  <a:lnTo>
                    <a:pt x="36" y="564"/>
                  </a:lnTo>
                  <a:cubicBezTo>
                    <a:pt x="36" y="648"/>
                    <a:pt x="18" y="808"/>
                    <a:pt x="12" y="863"/>
                  </a:cubicBezTo>
                  <a:lnTo>
                    <a:pt x="210" y="851"/>
                  </a:lnTo>
                  <a:lnTo>
                    <a:pt x="210" y="851"/>
                  </a:lnTo>
                  <a:close/>
                  <a:moveTo>
                    <a:pt x="186" y="323"/>
                  </a:moveTo>
                  <a:lnTo>
                    <a:pt x="186" y="323"/>
                  </a:lnTo>
                  <a:cubicBezTo>
                    <a:pt x="186" y="206"/>
                    <a:pt x="236" y="125"/>
                    <a:pt x="338" y="125"/>
                  </a:cubicBezTo>
                  <a:cubicBezTo>
                    <a:pt x="433" y="125"/>
                    <a:pt x="500" y="207"/>
                    <a:pt x="500" y="323"/>
                  </a:cubicBezTo>
                  <a:cubicBezTo>
                    <a:pt x="500" y="426"/>
                    <a:pt x="448" y="495"/>
                    <a:pt x="345" y="495"/>
                  </a:cubicBezTo>
                  <a:cubicBezTo>
                    <a:pt x="244" y="495"/>
                    <a:pt x="186" y="437"/>
                    <a:pt x="186" y="3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33"/>
            <p:cNvSpPr>
              <a:spLocks noChangeAspect="1"/>
            </p:cNvSpPr>
            <p:nvPr/>
          </p:nvSpPr>
          <p:spPr bwMode="auto">
            <a:xfrm>
              <a:off x="2773" y="2758"/>
              <a:ext cx="398" cy="570"/>
            </a:xfrm>
            <a:custGeom>
              <a:avLst/>
              <a:gdLst>
                <a:gd name="T0" fmla="*/ 364 w 440"/>
                <a:gd name="T1" fmla="*/ 126 h 621"/>
                <a:gd name="T2" fmla="*/ 364 w 440"/>
                <a:gd name="T3" fmla="*/ 126 h 621"/>
                <a:gd name="T4" fmla="*/ 270 w 440"/>
                <a:gd name="T5" fmla="*/ 114 h 621"/>
                <a:gd name="T6" fmla="*/ 162 w 440"/>
                <a:gd name="T7" fmla="*/ 160 h 621"/>
                <a:gd name="T8" fmla="*/ 289 w 440"/>
                <a:gd name="T9" fmla="*/ 260 h 621"/>
                <a:gd name="T10" fmla="*/ 440 w 440"/>
                <a:gd name="T11" fmla="*/ 443 h 621"/>
                <a:gd name="T12" fmla="*/ 186 w 440"/>
                <a:gd name="T13" fmla="*/ 621 h 621"/>
                <a:gd name="T14" fmla="*/ 11 w 440"/>
                <a:gd name="T15" fmla="*/ 594 h 621"/>
                <a:gd name="T16" fmla="*/ 11 w 440"/>
                <a:gd name="T17" fmla="*/ 469 h 621"/>
                <a:gd name="T18" fmla="*/ 192 w 440"/>
                <a:gd name="T19" fmla="*/ 506 h 621"/>
                <a:gd name="T20" fmla="*/ 278 w 440"/>
                <a:gd name="T21" fmla="*/ 448 h 621"/>
                <a:gd name="T22" fmla="*/ 152 w 440"/>
                <a:gd name="T23" fmla="*/ 349 h 621"/>
                <a:gd name="T24" fmla="*/ 0 w 440"/>
                <a:gd name="T25" fmla="*/ 160 h 621"/>
                <a:gd name="T26" fmla="*/ 242 w 440"/>
                <a:gd name="T27" fmla="*/ 0 h 621"/>
                <a:gd name="T28" fmla="*/ 387 w 440"/>
                <a:gd name="T29" fmla="*/ 12 h 621"/>
                <a:gd name="T30" fmla="*/ 364 w 440"/>
                <a:gd name="T31" fmla="*/ 126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40" h="621">
                  <a:moveTo>
                    <a:pt x="364" y="126"/>
                  </a:moveTo>
                  <a:lnTo>
                    <a:pt x="364" y="126"/>
                  </a:lnTo>
                  <a:cubicBezTo>
                    <a:pt x="328" y="120"/>
                    <a:pt x="306" y="114"/>
                    <a:pt x="270" y="114"/>
                  </a:cubicBezTo>
                  <a:cubicBezTo>
                    <a:pt x="206" y="114"/>
                    <a:pt x="162" y="129"/>
                    <a:pt x="162" y="160"/>
                  </a:cubicBezTo>
                  <a:cubicBezTo>
                    <a:pt x="162" y="195"/>
                    <a:pt x="222" y="224"/>
                    <a:pt x="289" y="260"/>
                  </a:cubicBezTo>
                  <a:cubicBezTo>
                    <a:pt x="353" y="294"/>
                    <a:pt x="440" y="340"/>
                    <a:pt x="440" y="443"/>
                  </a:cubicBezTo>
                  <a:cubicBezTo>
                    <a:pt x="440" y="557"/>
                    <a:pt x="339" y="621"/>
                    <a:pt x="186" y="621"/>
                  </a:cubicBezTo>
                  <a:cubicBezTo>
                    <a:pt x="116" y="621"/>
                    <a:pt x="68" y="607"/>
                    <a:pt x="11" y="594"/>
                  </a:cubicBezTo>
                  <a:lnTo>
                    <a:pt x="11" y="469"/>
                  </a:lnTo>
                  <a:cubicBezTo>
                    <a:pt x="55" y="482"/>
                    <a:pt x="127" y="506"/>
                    <a:pt x="192" y="506"/>
                  </a:cubicBezTo>
                  <a:cubicBezTo>
                    <a:pt x="235" y="506"/>
                    <a:pt x="278" y="487"/>
                    <a:pt x="278" y="448"/>
                  </a:cubicBezTo>
                  <a:cubicBezTo>
                    <a:pt x="278" y="412"/>
                    <a:pt x="227" y="391"/>
                    <a:pt x="152" y="349"/>
                  </a:cubicBezTo>
                  <a:cubicBezTo>
                    <a:pt x="85" y="316"/>
                    <a:pt x="0" y="247"/>
                    <a:pt x="0" y="160"/>
                  </a:cubicBezTo>
                  <a:cubicBezTo>
                    <a:pt x="0" y="57"/>
                    <a:pt x="103" y="0"/>
                    <a:pt x="242" y="0"/>
                  </a:cubicBezTo>
                  <a:cubicBezTo>
                    <a:pt x="288" y="0"/>
                    <a:pt x="342" y="6"/>
                    <a:pt x="387" y="12"/>
                  </a:cubicBezTo>
                  <a:lnTo>
                    <a:pt x="364" y="1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9" name="Group 4"/>
          <p:cNvGrpSpPr>
            <a:grpSpLocks noChangeAspect="1"/>
          </p:cNvGrpSpPr>
          <p:nvPr userDrawn="1"/>
        </p:nvGrpSpPr>
        <p:grpSpPr bwMode="gray">
          <a:xfrm>
            <a:off x="201574" y="151200"/>
            <a:ext cx="577259" cy="468000"/>
            <a:chOff x="1352" y="681"/>
            <a:chExt cx="3519" cy="3153"/>
          </a:xfrm>
        </p:grpSpPr>
        <p:sp>
          <p:nvSpPr>
            <p:cNvPr id="50" name="Freeform 5"/>
            <p:cNvSpPr>
              <a:spLocks noChangeAspect="1"/>
            </p:cNvSpPr>
            <p:nvPr/>
          </p:nvSpPr>
          <p:spPr bwMode="gray">
            <a:xfrm>
              <a:off x="1352" y="681"/>
              <a:ext cx="3519" cy="3153"/>
            </a:xfrm>
            <a:custGeom>
              <a:avLst/>
              <a:gdLst/>
              <a:ahLst/>
              <a:cxnLst>
                <a:cxn ang="0">
                  <a:pos x="0" y="3449"/>
                </a:cxn>
                <a:cxn ang="0">
                  <a:pos x="0" y="3449"/>
                </a:cxn>
                <a:cxn ang="0">
                  <a:pos x="0" y="0"/>
                </a:cxn>
                <a:cxn ang="0">
                  <a:pos x="3696" y="0"/>
                </a:cxn>
                <a:cxn ang="0">
                  <a:pos x="3327" y="3449"/>
                </a:cxn>
                <a:cxn ang="0">
                  <a:pos x="0" y="3449"/>
                </a:cxn>
              </a:cxnLst>
              <a:rect l="0" t="0" r="r" b="b"/>
              <a:pathLst>
                <a:path w="3862" h="3449">
                  <a:moveTo>
                    <a:pt x="0" y="3449"/>
                  </a:moveTo>
                  <a:lnTo>
                    <a:pt x="0" y="3449"/>
                  </a:lnTo>
                  <a:lnTo>
                    <a:pt x="0" y="0"/>
                  </a:lnTo>
                  <a:lnTo>
                    <a:pt x="3696" y="0"/>
                  </a:lnTo>
                  <a:cubicBezTo>
                    <a:pt x="3862" y="1150"/>
                    <a:pt x="3797" y="2241"/>
                    <a:pt x="3327" y="3449"/>
                  </a:cubicBezTo>
                  <a:lnTo>
                    <a:pt x="0" y="3449"/>
                  </a:lnTo>
                  <a:close/>
                </a:path>
              </a:pathLst>
            </a:custGeom>
            <a:solidFill>
              <a:srgbClr val="009D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" name="Freeform 6"/>
            <p:cNvSpPr>
              <a:spLocks noChangeAspect="1"/>
            </p:cNvSpPr>
            <p:nvPr/>
          </p:nvSpPr>
          <p:spPr bwMode="gray">
            <a:xfrm>
              <a:off x="2708" y="1843"/>
              <a:ext cx="75" cy="54"/>
            </a:xfrm>
            <a:custGeom>
              <a:avLst/>
              <a:gdLst/>
              <a:ahLst/>
              <a:cxnLst>
                <a:cxn ang="0">
                  <a:pos x="16" y="40"/>
                </a:cxn>
                <a:cxn ang="0">
                  <a:pos x="16" y="40"/>
                </a:cxn>
                <a:cxn ang="0">
                  <a:pos x="0" y="54"/>
                </a:cxn>
                <a:cxn ang="0">
                  <a:pos x="79" y="22"/>
                </a:cxn>
                <a:cxn ang="0">
                  <a:pos x="81" y="0"/>
                </a:cxn>
                <a:cxn ang="0">
                  <a:pos x="16" y="40"/>
                </a:cxn>
              </a:cxnLst>
              <a:rect l="0" t="0" r="r" b="b"/>
              <a:pathLst>
                <a:path w="81" h="66">
                  <a:moveTo>
                    <a:pt x="16" y="40"/>
                  </a:moveTo>
                  <a:lnTo>
                    <a:pt x="16" y="40"/>
                  </a:lnTo>
                  <a:lnTo>
                    <a:pt x="0" y="54"/>
                  </a:lnTo>
                  <a:cubicBezTo>
                    <a:pt x="35" y="66"/>
                    <a:pt x="72" y="42"/>
                    <a:pt x="79" y="22"/>
                  </a:cubicBezTo>
                  <a:lnTo>
                    <a:pt x="81" y="0"/>
                  </a:lnTo>
                  <a:cubicBezTo>
                    <a:pt x="54" y="6"/>
                    <a:pt x="27" y="19"/>
                    <a:pt x="16" y="40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2" name="Freeform 7"/>
            <p:cNvSpPr>
              <a:spLocks noChangeAspect="1"/>
            </p:cNvSpPr>
            <p:nvPr/>
          </p:nvSpPr>
          <p:spPr bwMode="gray">
            <a:xfrm>
              <a:off x="2869" y="1972"/>
              <a:ext cx="65" cy="54"/>
            </a:xfrm>
            <a:custGeom>
              <a:avLst/>
              <a:gdLst/>
              <a:ahLst/>
              <a:cxnLst>
                <a:cxn ang="0">
                  <a:pos x="27" y="1"/>
                </a:cxn>
                <a:cxn ang="0">
                  <a:pos x="27" y="1"/>
                </a:cxn>
                <a:cxn ang="0">
                  <a:pos x="0" y="0"/>
                </a:cxn>
                <a:cxn ang="0">
                  <a:pos x="33" y="58"/>
                </a:cxn>
                <a:cxn ang="0">
                  <a:pos x="53" y="63"/>
                </a:cxn>
                <a:cxn ang="0">
                  <a:pos x="27" y="1"/>
                </a:cxn>
              </a:cxnLst>
              <a:rect l="0" t="0" r="r" b="b"/>
              <a:pathLst>
                <a:path w="81" h="63">
                  <a:moveTo>
                    <a:pt x="27" y="1"/>
                  </a:moveTo>
                  <a:lnTo>
                    <a:pt x="27" y="1"/>
                  </a:lnTo>
                  <a:lnTo>
                    <a:pt x="0" y="0"/>
                  </a:lnTo>
                  <a:cubicBezTo>
                    <a:pt x="0" y="24"/>
                    <a:pt x="8" y="43"/>
                    <a:pt x="33" y="58"/>
                  </a:cubicBezTo>
                  <a:lnTo>
                    <a:pt x="53" y="63"/>
                  </a:lnTo>
                  <a:cubicBezTo>
                    <a:pt x="81" y="39"/>
                    <a:pt x="44" y="15"/>
                    <a:pt x="27" y="1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3" name="Freeform 8"/>
            <p:cNvSpPr>
              <a:spLocks noChangeAspect="1"/>
            </p:cNvSpPr>
            <p:nvPr/>
          </p:nvSpPr>
          <p:spPr bwMode="gray">
            <a:xfrm>
              <a:off x="2622" y="1413"/>
              <a:ext cx="86" cy="75"/>
            </a:xfrm>
            <a:custGeom>
              <a:avLst/>
              <a:gdLst/>
              <a:ahLst/>
              <a:cxnLst>
                <a:cxn ang="0">
                  <a:pos x="20" y="50"/>
                </a:cxn>
                <a:cxn ang="0">
                  <a:pos x="20" y="50"/>
                </a:cxn>
                <a:cxn ang="0">
                  <a:pos x="0" y="64"/>
                </a:cxn>
                <a:cxn ang="0">
                  <a:pos x="89" y="27"/>
                </a:cxn>
                <a:cxn ang="0">
                  <a:pos x="96" y="0"/>
                </a:cxn>
                <a:cxn ang="0">
                  <a:pos x="20" y="50"/>
                </a:cxn>
              </a:cxnLst>
              <a:rect l="0" t="0" r="r" b="b"/>
              <a:pathLst>
                <a:path w="96" h="79">
                  <a:moveTo>
                    <a:pt x="20" y="50"/>
                  </a:moveTo>
                  <a:lnTo>
                    <a:pt x="20" y="50"/>
                  </a:lnTo>
                  <a:lnTo>
                    <a:pt x="0" y="64"/>
                  </a:lnTo>
                  <a:cubicBezTo>
                    <a:pt x="41" y="79"/>
                    <a:pt x="75" y="57"/>
                    <a:pt x="89" y="27"/>
                  </a:cubicBezTo>
                  <a:lnTo>
                    <a:pt x="96" y="0"/>
                  </a:lnTo>
                  <a:cubicBezTo>
                    <a:pt x="63" y="8"/>
                    <a:pt x="38" y="8"/>
                    <a:pt x="20" y="50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4" name="Freeform 9"/>
            <p:cNvSpPr>
              <a:spLocks noChangeAspect="1"/>
            </p:cNvSpPr>
            <p:nvPr/>
          </p:nvSpPr>
          <p:spPr bwMode="gray">
            <a:xfrm>
              <a:off x="2568" y="1563"/>
              <a:ext cx="75" cy="76"/>
            </a:xfrm>
            <a:custGeom>
              <a:avLst/>
              <a:gdLst/>
              <a:ahLst/>
              <a:cxnLst>
                <a:cxn ang="0">
                  <a:pos x="77" y="22"/>
                </a:cxn>
                <a:cxn ang="0">
                  <a:pos x="77" y="22"/>
                </a:cxn>
                <a:cxn ang="0">
                  <a:pos x="71" y="0"/>
                </a:cxn>
                <a:cxn ang="0">
                  <a:pos x="0" y="44"/>
                </a:cxn>
                <a:cxn ang="0">
                  <a:pos x="0" y="62"/>
                </a:cxn>
                <a:cxn ang="0">
                  <a:pos x="77" y="22"/>
                </a:cxn>
              </a:cxnLst>
              <a:rect l="0" t="0" r="r" b="b"/>
              <a:pathLst>
                <a:path w="77" h="77">
                  <a:moveTo>
                    <a:pt x="77" y="22"/>
                  </a:moveTo>
                  <a:lnTo>
                    <a:pt x="77" y="22"/>
                  </a:lnTo>
                  <a:lnTo>
                    <a:pt x="71" y="0"/>
                  </a:lnTo>
                  <a:cubicBezTo>
                    <a:pt x="38" y="7"/>
                    <a:pt x="14" y="19"/>
                    <a:pt x="0" y="44"/>
                  </a:cubicBezTo>
                  <a:lnTo>
                    <a:pt x="0" y="62"/>
                  </a:lnTo>
                  <a:cubicBezTo>
                    <a:pt x="42" y="77"/>
                    <a:pt x="64" y="40"/>
                    <a:pt x="77" y="22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5" name="Freeform 10"/>
            <p:cNvSpPr>
              <a:spLocks noChangeAspect="1"/>
            </p:cNvSpPr>
            <p:nvPr/>
          </p:nvSpPr>
          <p:spPr bwMode="gray">
            <a:xfrm>
              <a:off x="2547" y="1725"/>
              <a:ext cx="86" cy="64"/>
            </a:xfrm>
            <a:custGeom>
              <a:avLst/>
              <a:gdLst/>
              <a:ahLst/>
              <a:cxnLst>
                <a:cxn ang="0">
                  <a:pos x="0" y="52"/>
                </a:cxn>
                <a:cxn ang="0">
                  <a:pos x="0" y="52"/>
                </a:cxn>
                <a:cxn ang="0">
                  <a:pos x="14" y="60"/>
                </a:cxn>
                <a:cxn ang="0">
                  <a:pos x="73" y="23"/>
                </a:cxn>
                <a:cxn ang="0">
                  <a:pos x="90" y="8"/>
                </a:cxn>
                <a:cxn ang="0">
                  <a:pos x="0" y="52"/>
                </a:cxn>
              </a:cxnLst>
              <a:rect l="0" t="0" r="r" b="b"/>
              <a:pathLst>
                <a:path w="90" h="74">
                  <a:moveTo>
                    <a:pt x="0" y="52"/>
                  </a:moveTo>
                  <a:lnTo>
                    <a:pt x="0" y="52"/>
                  </a:lnTo>
                  <a:lnTo>
                    <a:pt x="14" y="60"/>
                  </a:lnTo>
                  <a:cubicBezTo>
                    <a:pt x="59" y="74"/>
                    <a:pt x="62" y="38"/>
                    <a:pt x="73" y="23"/>
                  </a:cubicBezTo>
                  <a:lnTo>
                    <a:pt x="90" y="8"/>
                  </a:lnTo>
                  <a:cubicBezTo>
                    <a:pt x="48" y="0"/>
                    <a:pt x="11" y="31"/>
                    <a:pt x="0" y="52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6" name="Freeform 11"/>
            <p:cNvSpPr>
              <a:spLocks noChangeAspect="1"/>
            </p:cNvSpPr>
            <p:nvPr/>
          </p:nvSpPr>
          <p:spPr bwMode="gray">
            <a:xfrm>
              <a:off x="2773" y="1176"/>
              <a:ext cx="86" cy="75"/>
            </a:xfrm>
            <a:custGeom>
              <a:avLst/>
              <a:gdLst/>
              <a:ahLst/>
              <a:cxnLst>
                <a:cxn ang="0">
                  <a:pos x="16" y="4"/>
                </a:cxn>
                <a:cxn ang="0">
                  <a:pos x="16" y="4"/>
                </a:cxn>
                <a:cxn ang="0">
                  <a:pos x="0" y="12"/>
                </a:cxn>
                <a:cxn ang="0">
                  <a:pos x="86" y="49"/>
                </a:cxn>
                <a:cxn ang="0">
                  <a:pos x="88" y="22"/>
                </a:cxn>
                <a:cxn ang="0">
                  <a:pos x="16" y="4"/>
                </a:cxn>
              </a:cxnLst>
              <a:rect l="0" t="0" r="r" b="b"/>
              <a:pathLst>
                <a:path w="88" h="72">
                  <a:moveTo>
                    <a:pt x="16" y="4"/>
                  </a:moveTo>
                  <a:lnTo>
                    <a:pt x="16" y="4"/>
                  </a:lnTo>
                  <a:lnTo>
                    <a:pt x="0" y="12"/>
                  </a:lnTo>
                  <a:cubicBezTo>
                    <a:pt x="4" y="40"/>
                    <a:pt x="70" y="72"/>
                    <a:pt x="86" y="49"/>
                  </a:cubicBezTo>
                  <a:lnTo>
                    <a:pt x="88" y="22"/>
                  </a:lnTo>
                  <a:cubicBezTo>
                    <a:pt x="67" y="8"/>
                    <a:pt x="45" y="0"/>
                    <a:pt x="16" y="4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7" name="Freeform 12"/>
            <p:cNvSpPr>
              <a:spLocks noChangeAspect="1"/>
            </p:cNvSpPr>
            <p:nvPr/>
          </p:nvSpPr>
          <p:spPr bwMode="gray">
            <a:xfrm>
              <a:off x="2955" y="1111"/>
              <a:ext cx="76" cy="87"/>
            </a:xfrm>
            <a:custGeom>
              <a:avLst/>
              <a:gdLst/>
              <a:ahLst/>
              <a:cxnLst>
                <a:cxn ang="0">
                  <a:pos x="46" y="7"/>
                </a:cxn>
                <a:cxn ang="0">
                  <a:pos x="46" y="7"/>
                </a:cxn>
                <a:cxn ang="0">
                  <a:pos x="21" y="0"/>
                </a:cxn>
                <a:cxn ang="0">
                  <a:pos x="14" y="66"/>
                </a:cxn>
                <a:cxn ang="0">
                  <a:pos x="27" y="92"/>
                </a:cxn>
                <a:cxn ang="0">
                  <a:pos x="46" y="7"/>
                </a:cxn>
              </a:cxnLst>
              <a:rect l="0" t="0" r="r" b="b"/>
              <a:pathLst>
                <a:path w="86" h="92">
                  <a:moveTo>
                    <a:pt x="46" y="7"/>
                  </a:moveTo>
                  <a:lnTo>
                    <a:pt x="46" y="7"/>
                  </a:lnTo>
                  <a:lnTo>
                    <a:pt x="21" y="0"/>
                  </a:lnTo>
                  <a:cubicBezTo>
                    <a:pt x="7" y="19"/>
                    <a:pt x="0" y="33"/>
                    <a:pt x="14" y="66"/>
                  </a:cubicBezTo>
                  <a:lnTo>
                    <a:pt x="27" y="92"/>
                  </a:lnTo>
                  <a:cubicBezTo>
                    <a:pt x="57" y="63"/>
                    <a:pt x="86" y="36"/>
                    <a:pt x="46" y="7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" name="Freeform 13"/>
            <p:cNvSpPr>
              <a:spLocks noChangeAspect="1" noEditPoints="1"/>
            </p:cNvSpPr>
            <p:nvPr/>
          </p:nvSpPr>
          <p:spPr bwMode="gray">
            <a:xfrm>
              <a:off x="3149" y="929"/>
              <a:ext cx="667" cy="1678"/>
            </a:xfrm>
            <a:custGeom>
              <a:avLst/>
              <a:gdLst/>
              <a:ahLst/>
              <a:cxnLst>
                <a:cxn ang="0">
                  <a:pos x="451" y="808"/>
                </a:cxn>
                <a:cxn ang="0">
                  <a:pos x="451" y="808"/>
                </a:cxn>
                <a:cxn ang="0">
                  <a:pos x="326" y="776"/>
                </a:cxn>
                <a:cxn ang="0">
                  <a:pos x="477" y="746"/>
                </a:cxn>
                <a:cxn ang="0">
                  <a:pos x="493" y="773"/>
                </a:cxn>
                <a:cxn ang="0">
                  <a:pos x="451" y="808"/>
                </a:cxn>
                <a:cxn ang="0">
                  <a:pos x="451" y="808"/>
                </a:cxn>
                <a:cxn ang="0">
                  <a:pos x="639" y="841"/>
                </a:cxn>
                <a:cxn ang="0">
                  <a:pos x="639" y="841"/>
                </a:cxn>
                <a:cxn ang="0">
                  <a:pos x="601" y="701"/>
                </a:cxn>
                <a:cxn ang="0">
                  <a:pos x="634" y="646"/>
                </a:cxn>
                <a:cxn ang="0">
                  <a:pos x="627" y="477"/>
                </a:cxn>
                <a:cxn ang="0">
                  <a:pos x="641" y="463"/>
                </a:cxn>
                <a:cxn ang="0">
                  <a:pos x="627" y="414"/>
                </a:cxn>
                <a:cxn ang="0">
                  <a:pos x="615" y="342"/>
                </a:cxn>
                <a:cxn ang="0">
                  <a:pos x="590" y="286"/>
                </a:cxn>
                <a:cxn ang="0">
                  <a:pos x="602" y="260"/>
                </a:cxn>
                <a:cxn ang="0">
                  <a:pos x="560" y="236"/>
                </a:cxn>
                <a:cxn ang="0">
                  <a:pos x="523" y="213"/>
                </a:cxn>
                <a:cxn ang="0">
                  <a:pos x="514" y="180"/>
                </a:cxn>
                <a:cxn ang="0">
                  <a:pos x="483" y="195"/>
                </a:cxn>
                <a:cxn ang="0">
                  <a:pos x="476" y="154"/>
                </a:cxn>
                <a:cxn ang="0">
                  <a:pos x="434" y="171"/>
                </a:cxn>
                <a:cxn ang="0">
                  <a:pos x="411" y="119"/>
                </a:cxn>
                <a:cxn ang="0">
                  <a:pos x="389" y="124"/>
                </a:cxn>
                <a:cxn ang="0">
                  <a:pos x="356" y="150"/>
                </a:cxn>
                <a:cxn ang="0">
                  <a:pos x="356" y="101"/>
                </a:cxn>
                <a:cxn ang="0">
                  <a:pos x="341" y="93"/>
                </a:cxn>
                <a:cxn ang="0">
                  <a:pos x="314" y="81"/>
                </a:cxn>
                <a:cxn ang="0">
                  <a:pos x="276" y="97"/>
                </a:cxn>
                <a:cxn ang="0">
                  <a:pos x="292" y="51"/>
                </a:cxn>
                <a:cxn ang="0">
                  <a:pos x="244" y="106"/>
                </a:cxn>
                <a:cxn ang="0">
                  <a:pos x="216" y="112"/>
                </a:cxn>
                <a:cxn ang="0">
                  <a:pos x="266" y="43"/>
                </a:cxn>
                <a:cxn ang="0">
                  <a:pos x="214" y="91"/>
                </a:cxn>
                <a:cxn ang="0">
                  <a:pos x="173" y="98"/>
                </a:cxn>
                <a:cxn ang="0">
                  <a:pos x="186" y="38"/>
                </a:cxn>
                <a:cxn ang="0">
                  <a:pos x="173" y="69"/>
                </a:cxn>
                <a:cxn ang="0">
                  <a:pos x="166" y="36"/>
                </a:cxn>
                <a:cxn ang="0">
                  <a:pos x="142" y="114"/>
                </a:cxn>
                <a:cxn ang="0">
                  <a:pos x="126" y="39"/>
                </a:cxn>
                <a:cxn ang="0">
                  <a:pos x="80" y="112"/>
                </a:cxn>
                <a:cxn ang="0">
                  <a:pos x="56" y="117"/>
                </a:cxn>
                <a:cxn ang="0">
                  <a:pos x="37" y="43"/>
                </a:cxn>
                <a:cxn ang="0">
                  <a:pos x="5" y="1808"/>
                </a:cxn>
                <a:cxn ang="0">
                  <a:pos x="0" y="1840"/>
                </a:cxn>
                <a:cxn ang="0">
                  <a:pos x="162" y="1823"/>
                </a:cxn>
                <a:cxn ang="0">
                  <a:pos x="529" y="1842"/>
                </a:cxn>
                <a:cxn ang="0">
                  <a:pos x="614" y="1829"/>
                </a:cxn>
                <a:cxn ang="0">
                  <a:pos x="421" y="1778"/>
                </a:cxn>
                <a:cxn ang="0">
                  <a:pos x="272" y="1664"/>
                </a:cxn>
                <a:cxn ang="0">
                  <a:pos x="237" y="1566"/>
                </a:cxn>
                <a:cxn ang="0">
                  <a:pos x="239" y="1432"/>
                </a:cxn>
                <a:cxn ang="0">
                  <a:pos x="315" y="1404"/>
                </a:cxn>
                <a:cxn ang="0">
                  <a:pos x="586" y="1387"/>
                </a:cxn>
                <a:cxn ang="0">
                  <a:pos x="605" y="1286"/>
                </a:cxn>
                <a:cxn ang="0">
                  <a:pos x="609" y="1223"/>
                </a:cxn>
                <a:cxn ang="0">
                  <a:pos x="630" y="1174"/>
                </a:cxn>
                <a:cxn ang="0">
                  <a:pos x="590" y="1133"/>
                </a:cxn>
                <a:cxn ang="0">
                  <a:pos x="650" y="1082"/>
                </a:cxn>
                <a:cxn ang="0">
                  <a:pos x="621" y="1018"/>
                </a:cxn>
                <a:cxn ang="0">
                  <a:pos x="704" y="959"/>
                </a:cxn>
                <a:cxn ang="0">
                  <a:pos x="639" y="841"/>
                </a:cxn>
              </a:cxnLst>
              <a:rect l="0" t="0" r="r" b="b"/>
              <a:pathLst>
                <a:path w="724" h="1845">
                  <a:moveTo>
                    <a:pt x="451" y="808"/>
                  </a:moveTo>
                  <a:lnTo>
                    <a:pt x="451" y="808"/>
                  </a:lnTo>
                  <a:cubicBezTo>
                    <a:pt x="397" y="820"/>
                    <a:pt x="315" y="783"/>
                    <a:pt x="326" y="776"/>
                  </a:cubicBezTo>
                  <a:cubicBezTo>
                    <a:pt x="353" y="757"/>
                    <a:pt x="416" y="725"/>
                    <a:pt x="477" y="746"/>
                  </a:cubicBezTo>
                  <a:cubicBezTo>
                    <a:pt x="488" y="750"/>
                    <a:pt x="492" y="760"/>
                    <a:pt x="493" y="773"/>
                  </a:cubicBezTo>
                  <a:cubicBezTo>
                    <a:pt x="496" y="804"/>
                    <a:pt x="471" y="805"/>
                    <a:pt x="451" y="808"/>
                  </a:cubicBezTo>
                  <a:lnTo>
                    <a:pt x="451" y="808"/>
                  </a:lnTo>
                  <a:close/>
                  <a:moveTo>
                    <a:pt x="639" y="841"/>
                  </a:moveTo>
                  <a:lnTo>
                    <a:pt x="639" y="841"/>
                  </a:lnTo>
                  <a:cubicBezTo>
                    <a:pt x="610" y="803"/>
                    <a:pt x="557" y="751"/>
                    <a:pt x="601" y="701"/>
                  </a:cubicBezTo>
                  <a:cubicBezTo>
                    <a:pt x="624" y="684"/>
                    <a:pt x="631" y="670"/>
                    <a:pt x="634" y="646"/>
                  </a:cubicBezTo>
                  <a:cubicBezTo>
                    <a:pt x="644" y="560"/>
                    <a:pt x="639" y="524"/>
                    <a:pt x="627" y="477"/>
                  </a:cubicBezTo>
                  <a:cubicBezTo>
                    <a:pt x="629" y="473"/>
                    <a:pt x="638" y="478"/>
                    <a:pt x="641" y="463"/>
                  </a:cubicBezTo>
                  <a:cubicBezTo>
                    <a:pt x="650" y="422"/>
                    <a:pt x="627" y="414"/>
                    <a:pt x="627" y="414"/>
                  </a:cubicBezTo>
                  <a:cubicBezTo>
                    <a:pt x="645" y="399"/>
                    <a:pt x="643" y="342"/>
                    <a:pt x="615" y="342"/>
                  </a:cubicBezTo>
                  <a:cubicBezTo>
                    <a:pt x="631" y="317"/>
                    <a:pt x="617" y="277"/>
                    <a:pt x="590" y="286"/>
                  </a:cubicBezTo>
                  <a:cubicBezTo>
                    <a:pt x="590" y="286"/>
                    <a:pt x="604" y="278"/>
                    <a:pt x="602" y="260"/>
                  </a:cubicBezTo>
                  <a:cubicBezTo>
                    <a:pt x="599" y="224"/>
                    <a:pt x="547" y="259"/>
                    <a:pt x="560" y="236"/>
                  </a:cubicBezTo>
                  <a:cubicBezTo>
                    <a:pt x="567" y="223"/>
                    <a:pt x="538" y="180"/>
                    <a:pt x="523" y="213"/>
                  </a:cubicBezTo>
                  <a:cubicBezTo>
                    <a:pt x="515" y="207"/>
                    <a:pt x="529" y="187"/>
                    <a:pt x="514" y="180"/>
                  </a:cubicBezTo>
                  <a:cubicBezTo>
                    <a:pt x="504" y="181"/>
                    <a:pt x="495" y="188"/>
                    <a:pt x="483" y="195"/>
                  </a:cubicBezTo>
                  <a:cubicBezTo>
                    <a:pt x="479" y="181"/>
                    <a:pt x="494" y="174"/>
                    <a:pt x="476" y="154"/>
                  </a:cubicBezTo>
                  <a:cubicBezTo>
                    <a:pt x="452" y="138"/>
                    <a:pt x="451" y="162"/>
                    <a:pt x="434" y="171"/>
                  </a:cubicBezTo>
                  <a:cubicBezTo>
                    <a:pt x="404" y="164"/>
                    <a:pt x="476" y="146"/>
                    <a:pt x="411" y="119"/>
                  </a:cubicBezTo>
                  <a:cubicBezTo>
                    <a:pt x="395" y="159"/>
                    <a:pt x="396" y="130"/>
                    <a:pt x="389" y="124"/>
                  </a:cubicBezTo>
                  <a:cubicBezTo>
                    <a:pt x="384" y="121"/>
                    <a:pt x="375" y="131"/>
                    <a:pt x="356" y="150"/>
                  </a:cubicBezTo>
                  <a:cubicBezTo>
                    <a:pt x="366" y="124"/>
                    <a:pt x="388" y="92"/>
                    <a:pt x="356" y="101"/>
                  </a:cubicBezTo>
                  <a:cubicBezTo>
                    <a:pt x="320" y="117"/>
                    <a:pt x="341" y="96"/>
                    <a:pt x="341" y="93"/>
                  </a:cubicBezTo>
                  <a:cubicBezTo>
                    <a:pt x="372" y="79"/>
                    <a:pt x="312" y="45"/>
                    <a:pt x="314" y="81"/>
                  </a:cubicBezTo>
                  <a:cubicBezTo>
                    <a:pt x="313" y="105"/>
                    <a:pt x="261" y="126"/>
                    <a:pt x="276" y="97"/>
                  </a:cubicBezTo>
                  <a:cubicBezTo>
                    <a:pt x="286" y="60"/>
                    <a:pt x="331" y="116"/>
                    <a:pt x="292" y="51"/>
                  </a:cubicBezTo>
                  <a:cubicBezTo>
                    <a:pt x="268" y="78"/>
                    <a:pt x="248" y="96"/>
                    <a:pt x="244" y="106"/>
                  </a:cubicBezTo>
                  <a:cubicBezTo>
                    <a:pt x="225" y="181"/>
                    <a:pt x="236" y="113"/>
                    <a:pt x="216" y="112"/>
                  </a:cubicBezTo>
                  <a:cubicBezTo>
                    <a:pt x="242" y="94"/>
                    <a:pt x="276" y="63"/>
                    <a:pt x="266" y="43"/>
                  </a:cubicBezTo>
                  <a:cubicBezTo>
                    <a:pt x="237" y="41"/>
                    <a:pt x="172" y="87"/>
                    <a:pt x="214" y="91"/>
                  </a:cubicBezTo>
                  <a:cubicBezTo>
                    <a:pt x="211" y="106"/>
                    <a:pt x="187" y="123"/>
                    <a:pt x="173" y="98"/>
                  </a:cubicBezTo>
                  <a:cubicBezTo>
                    <a:pt x="196" y="92"/>
                    <a:pt x="235" y="15"/>
                    <a:pt x="186" y="38"/>
                  </a:cubicBezTo>
                  <a:cubicBezTo>
                    <a:pt x="181" y="42"/>
                    <a:pt x="181" y="56"/>
                    <a:pt x="173" y="69"/>
                  </a:cubicBezTo>
                  <a:cubicBezTo>
                    <a:pt x="161" y="58"/>
                    <a:pt x="170" y="42"/>
                    <a:pt x="166" y="36"/>
                  </a:cubicBezTo>
                  <a:cubicBezTo>
                    <a:pt x="127" y="0"/>
                    <a:pt x="141" y="93"/>
                    <a:pt x="142" y="114"/>
                  </a:cubicBezTo>
                  <a:cubicBezTo>
                    <a:pt x="92" y="82"/>
                    <a:pt x="139" y="91"/>
                    <a:pt x="126" y="39"/>
                  </a:cubicBezTo>
                  <a:cubicBezTo>
                    <a:pt x="84" y="47"/>
                    <a:pt x="73" y="64"/>
                    <a:pt x="80" y="112"/>
                  </a:cubicBezTo>
                  <a:cubicBezTo>
                    <a:pt x="74" y="123"/>
                    <a:pt x="63" y="149"/>
                    <a:pt x="56" y="117"/>
                  </a:cubicBezTo>
                  <a:cubicBezTo>
                    <a:pt x="79" y="87"/>
                    <a:pt x="77" y="44"/>
                    <a:pt x="37" y="43"/>
                  </a:cubicBezTo>
                  <a:cubicBezTo>
                    <a:pt x="101" y="631"/>
                    <a:pt x="97" y="1225"/>
                    <a:pt x="5" y="1808"/>
                  </a:cubicBezTo>
                  <a:lnTo>
                    <a:pt x="0" y="1840"/>
                  </a:lnTo>
                  <a:cubicBezTo>
                    <a:pt x="46" y="1839"/>
                    <a:pt x="113" y="1825"/>
                    <a:pt x="162" y="1823"/>
                  </a:cubicBezTo>
                  <a:cubicBezTo>
                    <a:pt x="301" y="1827"/>
                    <a:pt x="298" y="1845"/>
                    <a:pt x="529" y="1842"/>
                  </a:cubicBezTo>
                  <a:cubicBezTo>
                    <a:pt x="582" y="1837"/>
                    <a:pt x="597" y="1829"/>
                    <a:pt x="614" y="1829"/>
                  </a:cubicBezTo>
                  <a:cubicBezTo>
                    <a:pt x="597" y="1758"/>
                    <a:pt x="481" y="1798"/>
                    <a:pt x="421" y="1778"/>
                  </a:cubicBezTo>
                  <a:cubicBezTo>
                    <a:pt x="321" y="1768"/>
                    <a:pt x="304" y="1708"/>
                    <a:pt x="272" y="1664"/>
                  </a:cubicBezTo>
                  <a:cubicBezTo>
                    <a:pt x="258" y="1639"/>
                    <a:pt x="237" y="1608"/>
                    <a:pt x="237" y="1566"/>
                  </a:cubicBezTo>
                  <a:cubicBezTo>
                    <a:pt x="230" y="1513"/>
                    <a:pt x="240" y="1484"/>
                    <a:pt x="239" y="1432"/>
                  </a:cubicBezTo>
                  <a:cubicBezTo>
                    <a:pt x="243" y="1393"/>
                    <a:pt x="287" y="1401"/>
                    <a:pt x="315" y="1404"/>
                  </a:cubicBezTo>
                  <a:cubicBezTo>
                    <a:pt x="402" y="1413"/>
                    <a:pt x="547" y="1399"/>
                    <a:pt x="586" y="1387"/>
                  </a:cubicBezTo>
                  <a:cubicBezTo>
                    <a:pt x="641" y="1371"/>
                    <a:pt x="642" y="1337"/>
                    <a:pt x="605" y="1286"/>
                  </a:cubicBezTo>
                  <a:cubicBezTo>
                    <a:pt x="597" y="1261"/>
                    <a:pt x="598" y="1245"/>
                    <a:pt x="609" y="1223"/>
                  </a:cubicBezTo>
                  <a:cubicBezTo>
                    <a:pt x="625" y="1206"/>
                    <a:pt x="644" y="1195"/>
                    <a:pt x="630" y="1174"/>
                  </a:cubicBezTo>
                  <a:cubicBezTo>
                    <a:pt x="630" y="1174"/>
                    <a:pt x="504" y="1147"/>
                    <a:pt x="590" y="1133"/>
                  </a:cubicBezTo>
                  <a:cubicBezTo>
                    <a:pt x="679" y="1118"/>
                    <a:pt x="650" y="1082"/>
                    <a:pt x="650" y="1082"/>
                  </a:cubicBezTo>
                  <a:cubicBezTo>
                    <a:pt x="650" y="1082"/>
                    <a:pt x="635" y="1045"/>
                    <a:pt x="621" y="1018"/>
                  </a:cubicBezTo>
                  <a:cubicBezTo>
                    <a:pt x="611" y="998"/>
                    <a:pt x="695" y="991"/>
                    <a:pt x="704" y="959"/>
                  </a:cubicBezTo>
                  <a:cubicBezTo>
                    <a:pt x="724" y="932"/>
                    <a:pt x="661" y="871"/>
                    <a:pt x="639" y="841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" name="Freeform 14"/>
            <p:cNvSpPr>
              <a:spLocks noChangeAspect="1"/>
            </p:cNvSpPr>
            <p:nvPr/>
          </p:nvSpPr>
          <p:spPr bwMode="gray">
            <a:xfrm>
              <a:off x="1352" y="681"/>
              <a:ext cx="1829" cy="3153"/>
            </a:xfrm>
            <a:custGeom>
              <a:avLst/>
              <a:gdLst/>
              <a:ahLst/>
              <a:cxnLst>
                <a:cxn ang="0">
                  <a:pos x="1974" y="2106"/>
                </a:cxn>
                <a:cxn ang="0">
                  <a:pos x="0" y="3449"/>
                </a:cxn>
                <a:cxn ang="0">
                  <a:pos x="1972" y="0"/>
                </a:cxn>
                <a:cxn ang="0">
                  <a:pos x="1980" y="347"/>
                </a:cxn>
                <a:cxn ang="0">
                  <a:pos x="1982" y="392"/>
                </a:cxn>
                <a:cxn ang="0">
                  <a:pos x="1923" y="324"/>
                </a:cxn>
                <a:cxn ang="0">
                  <a:pos x="1878" y="384"/>
                </a:cxn>
                <a:cxn ang="0">
                  <a:pos x="1858" y="411"/>
                </a:cxn>
                <a:cxn ang="0">
                  <a:pos x="1823" y="348"/>
                </a:cxn>
                <a:cxn ang="0">
                  <a:pos x="1766" y="359"/>
                </a:cxn>
                <a:cxn ang="0">
                  <a:pos x="1702" y="494"/>
                </a:cxn>
                <a:cxn ang="0">
                  <a:pos x="1680" y="420"/>
                </a:cxn>
                <a:cxn ang="0">
                  <a:pos x="1605" y="427"/>
                </a:cxn>
                <a:cxn ang="0">
                  <a:pos x="1609" y="499"/>
                </a:cxn>
                <a:cxn ang="0">
                  <a:pos x="1520" y="498"/>
                </a:cxn>
                <a:cxn ang="0">
                  <a:pos x="1513" y="560"/>
                </a:cxn>
                <a:cxn ang="0">
                  <a:pos x="1407" y="521"/>
                </a:cxn>
                <a:cxn ang="0">
                  <a:pos x="1521" y="578"/>
                </a:cxn>
                <a:cxn ang="0">
                  <a:pos x="1453" y="612"/>
                </a:cxn>
                <a:cxn ang="0">
                  <a:pos x="1441" y="603"/>
                </a:cxn>
                <a:cxn ang="0">
                  <a:pos x="1404" y="640"/>
                </a:cxn>
                <a:cxn ang="0">
                  <a:pos x="1448" y="632"/>
                </a:cxn>
                <a:cxn ang="0">
                  <a:pos x="1433" y="703"/>
                </a:cxn>
                <a:cxn ang="0">
                  <a:pos x="1392" y="719"/>
                </a:cxn>
                <a:cxn ang="0">
                  <a:pos x="1410" y="785"/>
                </a:cxn>
                <a:cxn ang="0">
                  <a:pos x="1321" y="761"/>
                </a:cxn>
                <a:cxn ang="0">
                  <a:pos x="1255" y="760"/>
                </a:cxn>
                <a:cxn ang="0">
                  <a:pos x="1205" y="829"/>
                </a:cxn>
                <a:cxn ang="0">
                  <a:pos x="1350" y="845"/>
                </a:cxn>
                <a:cxn ang="0">
                  <a:pos x="1308" y="881"/>
                </a:cxn>
                <a:cxn ang="0">
                  <a:pos x="1308" y="953"/>
                </a:cxn>
                <a:cxn ang="0">
                  <a:pos x="1358" y="951"/>
                </a:cxn>
                <a:cxn ang="0">
                  <a:pos x="1319" y="1061"/>
                </a:cxn>
                <a:cxn ang="0">
                  <a:pos x="1324" y="1115"/>
                </a:cxn>
                <a:cxn ang="0">
                  <a:pos x="1283" y="1185"/>
                </a:cxn>
                <a:cxn ang="0">
                  <a:pos x="1257" y="1226"/>
                </a:cxn>
                <a:cxn ang="0">
                  <a:pos x="1285" y="1267"/>
                </a:cxn>
                <a:cxn ang="0">
                  <a:pos x="1314" y="1311"/>
                </a:cxn>
                <a:cxn ang="0">
                  <a:pos x="1363" y="1376"/>
                </a:cxn>
                <a:cxn ang="0">
                  <a:pos x="1438" y="1413"/>
                </a:cxn>
                <a:cxn ang="0">
                  <a:pos x="1494" y="1379"/>
                </a:cxn>
                <a:cxn ang="0">
                  <a:pos x="1513" y="1471"/>
                </a:cxn>
                <a:cxn ang="0">
                  <a:pos x="1605" y="1474"/>
                </a:cxn>
                <a:cxn ang="0">
                  <a:pos x="1584" y="1525"/>
                </a:cxn>
                <a:cxn ang="0">
                  <a:pos x="1618" y="1559"/>
                </a:cxn>
                <a:cxn ang="0">
                  <a:pos x="1644" y="1602"/>
                </a:cxn>
                <a:cxn ang="0">
                  <a:pos x="1700" y="1594"/>
                </a:cxn>
                <a:cxn ang="0">
                  <a:pos x="1729" y="1535"/>
                </a:cxn>
                <a:cxn ang="0">
                  <a:pos x="1794" y="1574"/>
                </a:cxn>
                <a:cxn ang="0">
                  <a:pos x="1808" y="1711"/>
                </a:cxn>
                <a:cxn ang="0">
                  <a:pos x="1870" y="1688"/>
                </a:cxn>
                <a:cxn ang="0">
                  <a:pos x="1839" y="1844"/>
                </a:cxn>
                <a:cxn ang="0">
                  <a:pos x="1446" y="2092"/>
                </a:cxn>
                <a:cxn ang="0">
                  <a:pos x="1654" y="2103"/>
                </a:cxn>
                <a:cxn ang="0">
                  <a:pos x="1974" y="2105"/>
                </a:cxn>
              </a:cxnLst>
              <a:rect l="0" t="0" r="r" b="b"/>
              <a:pathLst>
                <a:path w="2011" h="3449">
                  <a:moveTo>
                    <a:pt x="1974" y="2106"/>
                  </a:moveTo>
                  <a:lnTo>
                    <a:pt x="1974" y="2106"/>
                  </a:lnTo>
                  <a:cubicBezTo>
                    <a:pt x="1903" y="2543"/>
                    <a:pt x="1782" y="2987"/>
                    <a:pt x="1602" y="3449"/>
                  </a:cubicBezTo>
                  <a:lnTo>
                    <a:pt x="0" y="3449"/>
                  </a:lnTo>
                  <a:lnTo>
                    <a:pt x="0" y="0"/>
                  </a:lnTo>
                  <a:lnTo>
                    <a:pt x="1972" y="0"/>
                  </a:lnTo>
                  <a:cubicBezTo>
                    <a:pt x="1988" y="113"/>
                    <a:pt x="1999" y="197"/>
                    <a:pt x="2011" y="309"/>
                  </a:cubicBezTo>
                  <a:cubicBezTo>
                    <a:pt x="2011" y="309"/>
                    <a:pt x="1977" y="320"/>
                    <a:pt x="1980" y="347"/>
                  </a:cubicBezTo>
                  <a:cubicBezTo>
                    <a:pt x="1984" y="378"/>
                    <a:pt x="1997" y="385"/>
                    <a:pt x="1997" y="385"/>
                  </a:cubicBezTo>
                  <a:lnTo>
                    <a:pt x="1982" y="392"/>
                  </a:lnTo>
                  <a:cubicBezTo>
                    <a:pt x="1982" y="392"/>
                    <a:pt x="1966" y="368"/>
                    <a:pt x="1966" y="369"/>
                  </a:cubicBezTo>
                  <a:cubicBezTo>
                    <a:pt x="1966" y="346"/>
                    <a:pt x="1976" y="311"/>
                    <a:pt x="1923" y="324"/>
                  </a:cubicBezTo>
                  <a:cubicBezTo>
                    <a:pt x="1904" y="365"/>
                    <a:pt x="1952" y="373"/>
                    <a:pt x="1939" y="401"/>
                  </a:cubicBezTo>
                  <a:cubicBezTo>
                    <a:pt x="1883" y="404"/>
                    <a:pt x="1923" y="359"/>
                    <a:pt x="1878" y="384"/>
                  </a:cubicBezTo>
                  <a:cubicBezTo>
                    <a:pt x="1881" y="371"/>
                    <a:pt x="1871" y="336"/>
                    <a:pt x="1857" y="339"/>
                  </a:cubicBezTo>
                  <a:cubicBezTo>
                    <a:pt x="1851" y="358"/>
                    <a:pt x="1836" y="391"/>
                    <a:pt x="1858" y="411"/>
                  </a:cubicBezTo>
                  <a:cubicBezTo>
                    <a:pt x="1851" y="416"/>
                    <a:pt x="1830" y="413"/>
                    <a:pt x="1825" y="406"/>
                  </a:cubicBezTo>
                  <a:cubicBezTo>
                    <a:pt x="1819" y="396"/>
                    <a:pt x="1840" y="379"/>
                    <a:pt x="1823" y="348"/>
                  </a:cubicBezTo>
                  <a:cubicBezTo>
                    <a:pt x="1771" y="371"/>
                    <a:pt x="1819" y="421"/>
                    <a:pt x="1776" y="440"/>
                  </a:cubicBezTo>
                  <a:cubicBezTo>
                    <a:pt x="1729" y="434"/>
                    <a:pt x="1803" y="394"/>
                    <a:pt x="1766" y="359"/>
                  </a:cubicBezTo>
                  <a:cubicBezTo>
                    <a:pt x="1723" y="369"/>
                    <a:pt x="1707" y="413"/>
                    <a:pt x="1724" y="439"/>
                  </a:cubicBezTo>
                  <a:cubicBezTo>
                    <a:pt x="1723" y="462"/>
                    <a:pt x="1705" y="474"/>
                    <a:pt x="1702" y="494"/>
                  </a:cubicBezTo>
                  <a:cubicBezTo>
                    <a:pt x="1681" y="491"/>
                    <a:pt x="1672" y="483"/>
                    <a:pt x="1670" y="475"/>
                  </a:cubicBezTo>
                  <a:cubicBezTo>
                    <a:pt x="1667" y="460"/>
                    <a:pt x="1708" y="453"/>
                    <a:pt x="1680" y="420"/>
                  </a:cubicBezTo>
                  <a:cubicBezTo>
                    <a:pt x="1635" y="427"/>
                    <a:pt x="1665" y="500"/>
                    <a:pt x="1629" y="461"/>
                  </a:cubicBezTo>
                  <a:cubicBezTo>
                    <a:pt x="1626" y="444"/>
                    <a:pt x="1614" y="429"/>
                    <a:pt x="1605" y="427"/>
                  </a:cubicBezTo>
                  <a:cubicBezTo>
                    <a:pt x="1588" y="439"/>
                    <a:pt x="1580" y="459"/>
                    <a:pt x="1591" y="476"/>
                  </a:cubicBezTo>
                  <a:lnTo>
                    <a:pt x="1609" y="499"/>
                  </a:lnTo>
                  <a:cubicBezTo>
                    <a:pt x="1607" y="499"/>
                    <a:pt x="1617" y="513"/>
                    <a:pt x="1615" y="512"/>
                  </a:cubicBezTo>
                  <a:cubicBezTo>
                    <a:pt x="1585" y="488"/>
                    <a:pt x="1545" y="471"/>
                    <a:pt x="1520" y="498"/>
                  </a:cubicBezTo>
                  <a:cubicBezTo>
                    <a:pt x="1523" y="523"/>
                    <a:pt x="1545" y="525"/>
                    <a:pt x="1579" y="533"/>
                  </a:cubicBezTo>
                  <a:cubicBezTo>
                    <a:pt x="1536" y="537"/>
                    <a:pt x="1527" y="552"/>
                    <a:pt x="1513" y="560"/>
                  </a:cubicBezTo>
                  <a:cubicBezTo>
                    <a:pt x="1508" y="532"/>
                    <a:pt x="1475" y="527"/>
                    <a:pt x="1444" y="523"/>
                  </a:cubicBezTo>
                  <a:cubicBezTo>
                    <a:pt x="1426" y="527"/>
                    <a:pt x="1415" y="515"/>
                    <a:pt x="1407" y="521"/>
                  </a:cubicBezTo>
                  <a:cubicBezTo>
                    <a:pt x="1420" y="553"/>
                    <a:pt x="1451" y="578"/>
                    <a:pt x="1490" y="586"/>
                  </a:cubicBezTo>
                  <a:cubicBezTo>
                    <a:pt x="1507" y="584"/>
                    <a:pt x="1509" y="584"/>
                    <a:pt x="1521" y="578"/>
                  </a:cubicBezTo>
                  <a:cubicBezTo>
                    <a:pt x="1544" y="588"/>
                    <a:pt x="1542" y="592"/>
                    <a:pt x="1548" y="608"/>
                  </a:cubicBezTo>
                  <a:cubicBezTo>
                    <a:pt x="1514" y="623"/>
                    <a:pt x="1487" y="604"/>
                    <a:pt x="1453" y="612"/>
                  </a:cubicBezTo>
                  <a:cubicBezTo>
                    <a:pt x="1453" y="614"/>
                    <a:pt x="1445" y="614"/>
                    <a:pt x="1444" y="611"/>
                  </a:cubicBezTo>
                  <a:cubicBezTo>
                    <a:pt x="1445" y="611"/>
                    <a:pt x="1440" y="603"/>
                    <a:pt x="1441" y="603"/>
                  </a:cubicBezTo>
                  <a:cubicBezTo>
                    <a:pt x="1426" y="575"/>
                    <a:pt x="1387" y="586"/>
                    <a:pt x="1366" y="592"/>
                  </a:cubicBezTo>
                  <a:cubicBezTo>
                    <a:pt x="1363" y="614"/>
                    <a:pt x="1386" y="632"/>
                    <a:pt x="1404" y="640"/>
                  </a:cubicBezTo>
                  <a:cubicBezTo>
                    <a:pt x="1429" y="649"/>
                    <a:pt x="1438" y="641"/>
                    <a:pt x="1438" y="641"/>
                  </a:cubicBezTo>
                  <a:lnTo>
                    <a:pt x="1448" y="632"/>
                  </a:lnTo>
                  <a:cubicBezTo>
                    <a:pt x="1459" y="672"/>
                    <a:pt x="1473" y="674"/>
                    <a:pt x="1494" y="690"/>
                  </a:cubicBezTo>
                  <a:cubicBezTo>
                    <a:pt x="1471" y="698"/>
                    <a:pt x="1462" y="705"/>
                    <a:pt x="1433" y="703"/>
                  </a:cubicBezTo>
                  <a:cubicBezTo>
                    <a:pt x="1400" y="652"/>
                    <a:pt x="1301" y="630"/>
                    <a:pt x="1305" y="654"/>
                  </a:cubicBezTo>
                  <a:cubicBezTo>
                    <a:pt x="1319" y="706"/>
                    <a:pt x="1392" y="719"/>
                    <a:pt x="1392" y="719"/>
                  </a:cubicBezTo>
                  <a:cubicBezTo>
                    <a:pt x="1392" y="719"/>
                    <a:pt x="1354" y="733"/>
                    <a:pt x="1360" y="746"/>
                  </a:cubicBezTo>
                  <a:cubicBezTo>
                    <a:pt x="1367" y="758"/>
                    <a:pt x="1417" y="766"/>
                    <a:pt x="1410" y="785"/>
                  </a:cubicBezTo>
                  <a:cubicBezTo>
                    <a:pt x="1358" y="762"/>
                    <a:pt x="1348" y="771"/>
                    <a:pt x="1383" y="817"/>
                  </a:cubicBezTo>
                  <a:cubicBezTo>
                    <a:pt x="1339" y="819"/>
                    <a:pt x="1349" y="772"/>
                    <a:pt x="1321" y="761"/>
                  </a:cubicBezTo>
                  <a:cubicBezTo>
                    <a:pt x="1301" y="775"/>
                    <a:pt x="1313" y="806"/>
                    <a:pt x="1313" y="806"/>
                  </a:cubicBezTo>
                  <a:cubicBezTo>
                    <a:pt x="1303" y="798"/>
                    <a:pt x="1277" y="754"/>
                    <a:pt x="1255" y="760"/>
                  </a:cubicBezTo>
                  <a:cubicBezTo>
                    <a:pt x="1248" y="765"/>
                    <a:pt x="1248" y="789"/>
                    <a:pt x="1265" y="805"/>
                  </a:cubicBezTo>
                  <a:cubicBezTo>
                    <a:pt x="1244" y="809"/>
                    <a:pt x="1210" y="806"/>
                    <a:pt x="1205" y="829"/>
                  </a:cubicBezTo>
                  <a:cubicBezTo>
                    <a:pt x="1239" y="855"/>
                    <a:pt x="1276" y="855"/>
                    <a:pt x="1329" y="849"/>
                  </a:cubicBezTo>
                  <a:cubicBezTo>
                    <a:pt x="1329" y="849"/>
                    <a:pt x="1339" y="848"/>
                    <a:pt x="1350" y="845"/>
                  </a:cubicBezTo>
                  <a:cubicBezTo>
                    <a:pt x="1360" y="842"/>
                    <a:pt x="1375" y="856"/>
                    <a:pt x="1375" y="856"/>
                  </a:cubicBezTo>
                  <a:cubicBezTo>
                    <a:pt x="1349" y="862"/>
                    <a:pt x="1360" y="870"/>
                    <a:pt x="1308" y="881"/>
                  </a:cubicBezTo>
                  <a:cubicBezTo>
                    <a:pt x="1274" y="897"/>
                    <a:pt x="1247" y="918"/>
                    <a:pt x="1247" y="953"/>
                  </a:cubicBezTo>
                  <a:cubicBezTo>
                    <a:pt x="1268" y="963"/>
                    <a:pt x="1294" y="973"/>
                    <a:pt x="1308" y="953"/>
                  </a:cubicBezTo>
                  <a:cubicBezTo>
                    <a:pt x="1331" y="920"/>
                    <a:pt x="1324" y="946"/>
                    <a:pt x="1340" y="945"/>
                  </a:cubicBezTo>
                  <a:lnTo>
                    <a:pt x="1358" y="951"/>
                  </a:lnTo>
                  <a:cubicBezTo>
                    <a:pt x="1344" y="986"/>
                    <a:pt x="1264" y="985"/>
                    <a:pt x="1279" y="1011"/>
                  </a:cubicBezTo>
                  <a:cubicBezTo>
                    <a:pt x="1295" y="1035"/>
                    <a:pt x="1319" y="1061"/>
                    <a:pt x="1319" y="1061"/>
                  </a:cubicBezTo>
                  <a:cubicBezTo>
                    <a:pt x="1319" y="1061"/>
                    <a:pt x="1263" y="1032"/>
                    <a:pt x="1247" y="1053"/>
                  </a:cubicBezTo>
                  <a:cubicBezTo>
                    <a:pt x="1232" y="1071"/>
                    <a:pt x="1265" y="1102"/>
                    <a:pt x="1324" y="1115"/>
                  </a:cubicBezTo>
                  <a:cubicBezTo>
                    <a:pt x="1304" y="1128"/>
                    <a:pt x="1233" y="1115"/>
                    <a:pt x="1276" y="1160"/>
                  </a:cubicBezTo>
                  <a:cubicBezTo>
                    <a:pt x="1225" y="1181"/>
                    <a:pt x="1242" y="1196"/>
                    <a:pt x="1283" y="1185"/>
                  </a:cubicBezTo>
                  <a:lnTo>
                    <a:pt x="1303" y="1188"/>
                  </a:lnTo>
                  <a:cubicBezTo>
                    <a:pt x="1291" y="1196"/>
                    <a:pt x="1254" y="1213"/>
                    <a:pt x="1257" y="1226"/>
                  </a:cubicBezTo>
                  <a:cubicBezTo>
                    <a:pt x="1259" y="1243"/>
                    <a:pt x="1300" y="1222"/>
                    <a:pt x="1307" y="1235"/>
                  </a:cubicBezTo>
                  <a:cubicBezTo>
                    <a:pt x="1310" y="1254"/>
                    <a:pt x="1287" y="1262"/>
                    <a:pt x="1285" y="1267"/>
                  </a:cubicBezTo>
                  <a:cubicBezTo>
                    <a:pt x="1314" y="1286"/>
                    <a:pt x="1331" y="1241"/>
                    <a:pt x="1358" y="1267"/>
                  </a:cubicBezTo>
                  <a:cubicBezTo>
                    <a:pt x="1348" y="1286"/>
                    <a:pt x="1305" y="1282"/>
                    <a:pt x="1314" y="1311"/>
                  </a:cubicBezTo>
                  <a:cubicBezTo>
                    <a:pt x="1330" y="1323"/>
                    <a:pt x="1357" y="1318"/>
                    <a:pt x="1373" y="1329"/>
                  </a:cubicBezTo>
                  <a:cubicBezTo>
                    <a:pt x="1373" y="1329"/>
                    <a:pt x="1351" y="1371"/>
                    <a:pt x="1363" y="1376"/>
                  </a:cubicBezTo>
                  <a:cubicBezTo>
                    <a:pt x="1386" y="1388"/>
                    <a:pt x="1408" y="1351"/>
                    <a:pt x="1416" y="1349"/>
                  </a:cubicBezTo>
                  <a:cubicBezTo>
                    <a:pt x="1410" y="1396"/>
                    <a:pt x="1450" y="1380"/>
                    <a:pt x="1438" y="1413"/>
                  </a:cubicBezTo>
                  <a:cubicBezTo>
                    <a:pt x="1438" y="1430"/>
                    <a:pt x="1436" y="1454"/>
                    <a:pt x="1454" y="1463"/>
                  </a:cubicBezTo>
                  <a:cubicBezTo>
                    <a:pt x="1491" y="1452"/>
                    <a:pt x="1495" y="1423"/>
                    <a:pt x="1494" y="1379"/>
                  </a:cubicBezTo>
                  <a:cubicBezTo>
                    <a:pt x="1494" y="1364"/>
                    <a:pt x="1537" y="1389"/>
                    <a:pt x="1537" y="1389"/>
                  </a:cubicBezTo>
                  <a:cubicBezTo>
                    <a:pt x="1563" y="1410"/>
                    <a:pt x="1492" y="1426"/>
                    <a:pt x="1513" y="1471"/>
                  </a:cubicBezTo>
                  <a:cubicBezTo>
                    <a:pt x="1573" y="1479"/>
                    <a:pt x="1573" y="1428"/>
                    <a:pt x="1621" y="1419"/>
                  </a:cubicBezTo>
                  <a:cubicBezTo>
                    <a:pt x="1643" y="1433"/>
                    <a:pt x="1612" y="1457"/>
                    <a:pt x="1605" y="1474"/>
                  </a:cubicBezTo>
                  <a:cubicBezTo>
                    <a:pt x="1575" y="1491"/>
                    <a:pt x="1538" y="1471"/>
                    <a:pt x="1509" y="1530"/>
                  </a:cubicBezTo>
                  <a:cubicBezTo>
                    <a:pt x="1551" y="1546"/>
                    <a:pt x="1570" y="1533"/>
                    <a:pt x="1584" y="1525"/>
                  </a:cubicBezTo>
                  <a:cubicBezTo>
                    <a:pt x="1597" y="1516"/>
                    <a:pt x="1596" y="1511"/>
                    <a:pt x="1606" y="1507"/>
                  </a:cubicBezTo>
                  <a:cubicBezTo>
                    <a:pt x="1607" y="1523"/>
                    <a:pt x="1603" y="1553"/>
                    <a:pt x="1618" y="1559"/>
                  </a:cubicBezTo>
                  <a:cubicBezTo>
                    <a:pt x="1632" y="1558"/>
                    <a:pt x="1633" y="1553"/>
                    <a:pt x="1645" y="1546"/>
                  </a:cubicBezTo>
                  <a:cubicBezTo>
                    <a:pt x="1657" y="1558"/>
                    <a:pt x="1626" y="1589"/>
                    <a:pt x="1644" y="1602"/>
                  </a:cubicBezTo>
                  <a:cubicBezTo>
                    <a:pt x="1661" y="1599"/>
                    <a:pt x="1667" y="1583"/>
                    <a:pt x="1667" y="1583"/>
                  </a:cubicBezTo>
                  <a:cubicBezTo>
                    <a:pt x="1677" y="1597"/>
                    <a:pt x="1689" y="1597"/>
                    <a:pt x="1700" y="1594"/>
                  </a:cubicBezTo>
                  <a:cubicBezTo>
                    <a:pt x="1706" y="1579"/>
                    <a:pt x="1707" y="1545"/>
                    <a:pt x="1688" y="1533"/>
                  </a:cubicBezTo>
                  <a:cubicBezTo>
                    <a:pt x="1697" y="1522"/>
                    <a:pt x="1720" y="1543"/>
                    <a:pt x="1729" y="1535"/>
                  </a:cubicBezTo>
                  <a:cubicBezTo>
                    <a:pt x="1748" y="1557"/>
                    <a:pt x="1707" y="1600"/>
                    <a:pt x="1737" y="1618"/>
                  </a:cubicBezTo>
                  <a:cubicBezTo>
                    <a:pt x="1766" y="1615"/>
                    <a:pt x="1765" y="1586"/>
                    <a:pt x="1794" y="1574"/>
                  </a:cubicBezTo>
                  <a:cubicBezTo>
                    <a:pt x="1789" y="1604"/>
                    <a:pt x="1824" y="1626"/>
                    <a:pt x="1779" y="1648"/>
                  </a:cubicBezTo>
                  <a:cubicBezTo>
                    <a:pt x="1779" y="1677"/>
                    <a:pt x="1834" y="1669"/>
                    <a:pt x="1808" y="1711"/>
                  </a:cubicBezTo>
                  <a:cubicBezTo>
                    <a:pt x="1818" y="1728"/>
                    <a:pt x="1831" y="1721"/>
                    <a:pt x="1843" y="1718"/>
                  </a:cubicBezTo>
                  <a:lnTo>
                    <a:pt x="1870" y="1688"/>
                  </a:lnTo>
                  <a:cubicBezTo>
                    <a:pt x="1862" y="1712"/>
                    <a:pt x="1860" y="1750"/>
                    <a:pt x="1867" y="1777"/>
                  </a:cubicBezTo>
                  <a:cubicBezTo>
                    <a:pt x="1858" y="1800"/>
                    <a:pt x="1879" y="1825"/>
                    <a:pt x="1839" y="1844"/>
                  </a:cubicBezTo>
                  <a:cubicBezTo>
                    <a:pt x="1828" y="1900"/>
                    <a:pt x="1827" y="1956"/>
                    <a:pt x="1763" y="1992"/>
                  </a:cubicBezTo>
                  <a:cubicBezTo>
                    <a:pt x="1726" y="2060"/>
                    <a:pt x="1497" y="2024"/>
                    <a:pt x="1446" y="2092"/>
                  </a:cubicBezTo>
                  <a:cubicBezTo>
                    <a:pt x="1459" y="2104"/>
                    <a:pt x="1576" y="2100"/>
                    <a:pt x="1591" y="2096"/>
                  </a:cubicBezTo>
                  <a:cubicBezTo>
                    <a:pt x="1613" y="2085"/>
                    <a:pt x="1631" y="2104"/>
                    <a:pt x="1654" y="2103"/>
                  </a:cubicBezTo>
                  <a:cubicBezTo>
                    <a:pt x="1705" y="2103"/>
                    <a:pt x="1767" y="2086"/>
                    <a:pt x="1809" y="2103"/>
                  </a:cubicBezTo>
                  <a:cubicBezTo>
                    <a:pt x="1869" y="2103"/>
                    <a:pt x="1920" y="2105"/>
                    <a:pt x="1974" y="2105"/>
                  </a:cubicBezTo>
                  <a:lnTo>
                    <a:pt x="1974" y="2106"/>
                  </a:ln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" name="Freeform 15"/>
            <p:cNvSpPr>
              <a:spLocks noChangeAspect="1" noEditPoints="1"/>
            </p:cNvSpPr>
            <p:nvPr/>
          </p:nvSpPr>
          <p:spPr bwMode="gray">
            <a:xfrm>
              <a:off x="3235" y="2758"/>
              <a:ext cx="581" cy="570"/>
            </a:xfrm>
            <a:custGeom>
              <a:avLst/>
              <a:gdLst/>
              <a:ahLst/>
              <a:cxnLst>
                <a:cxn ang="0">
                  <a:pos x="321" y="621"/>
                </a:cxn>
                <a:cxn ang="0">
                  <a:pos x="321" y="621"/>
                </a:cxn>
                <a:cxn ang="0">
                  <a:pos x="639" y="307"/>
                </a:cxn>
                <a:cxn ang="0">
                  <a:pos x="321" y="0"/>
                </a:cxn>
                <a:cxn ang="0">
                  <a:pos x="0" y="307"/>
                </a:cxn>
                <a:cxn ang="0">
                  <a:pos x="321" y="621"/>
                </a:cxn>
                <a:cxn ang="0">
                  <a:pos x="321" y="621"/>
                </a:cxn>
                <a:cxn ang="0">
                  <a:pos x="162" y="307"/>
                </a:cxn>
                <a:cxn ang="0">
                  <a:pos x="162" y="307"/>
                </a:cxn>
                <a:cxn ang="0">
                  <a:pos x="321" y="125"/>
                </a:cxn>
                <a:cxn ang="0">
                  <a:pos x="477" y="307"/>
                </a:cxn>
                <a:cxn ang="0">
                  <a:pos x="321" y="495"/>
                </a:cxn>
                <a:cxn ang="0">
                  <a:pos x="162" y="307"/>
                </a:cxn>
              </a:cxnLst>
              <a:rect l="0" t="0" r="r" b="b"/>
              <a:pathLst>
                <a:path w="639" h="621">
                  <a:moveTo>
                    <a:pt x="321" y="621"/>
                  </a:moveTo>
                  <a:lnTo>
                    <a:pt x="321" y="621"/>
                  </a:lnTo>
                  <a:cubicBezTo>
                    <a:pt x="512" y="621"/>
                    <a:pt x="639" y="480"/>
                    <a:pt x="639" y="307"/>
                  </a:cubicBezTo>
                  <a:cubicBezTo>
                    <a:pt x="639" y="124"/>
                    <a:pt x="511" y="0"/>
                    <a:pt x="321" y="0"/>
                  </a:cubicBezTo>
                  <a:cubicBezTo>
                    <a:pt x="130" y="0"/>
                    <a:pt x="0" y="121"/>
                    <a:pt x="0" y="307"/>
                  </a:cubicBezTo>
                  <a:cubicBezTo>
                    <a:pt x="0" y="489"/>
                    <a:pt x="132" y="621"/>
                    <a:pt x="321" y="621"/>
                  </a:cubicBezTo>
                  <a:lnTo>
                    <a:pt x="321" y="621"/>
                  </a:lnTo>
                  <a:close/>
                  <a:moveTo>
                    <a:pt x="162" y="307"/>
                  </a:moveTo>
                  <a:lnTo>
                    <a:pt x="162" y="307"/>
                  </a:lnTo>
                  <a:cubicBezTo>
                    <a:pt x="162" y="198"/>
                    <a:pt x="214" y="125"/>
                    <a:pt x="321" y="125"/>
                  </a:cubicBezTo>
                  <a:cubicBezTo>
                    <a:pt x="425" y="125"/>
                    <a:pt x="477" y="192"/>
                    <a:pt x="477" y="307"/>
                  </a:cubicBezTo>
                  <a:cubicBezTo>
                    <a:pt x="477" y="413"/>
                    <a:pt x="426" y="495"/>
                    <a:pt x="321" y="495"/>
                  </a:cubicBezTo>
                  <a:cubicBezTo>
                    <a:pt x="220" y="495"/>
                    <a:pt x="162" y="415"/>
                    <a:pt x="162" y="307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" name="Freeform 16"/>
            <p:cNvSpPr>
              <a:spLocks noChangeAspect="1"/>
            </p:cNvSpPr>
            <p:nvPr/>
          </p:nvSpPr>
          <p:spPr bwMode="gray">
            <a:xfrm>
              <a:off x="3892" y="2758"/>
              <a:ext cx="409" cy="570"/>
            </a:xfrm>
            <a:custGeom>
              <a:avLst/>
              <a:gdLst/>
              <a:ahLst/>
              <a:cxnLst>
                <a:cxn ang="0">
                  <a:pos x="377" y="128"/>
                </a:cxn>
                <a:cxn ang="0">
                  <a:pos x="377" y="128"/>
                </a:cxn>
                <a:cxn ang="0">
                  <a:pos x="270" y="114"/>
                </a:cxn>
                <a:cxn ang="0">
                  <a:pos x="163" y="160"/>
                </a:cxn>
                <a:cxn ang="0">
                  <a:pos x="290" y="260"/>
                </a:cxn>
                <a:cxn ang="0">
                  <a:pos x="441" y="443"/>
                </a:cxn>
                <a:cxn ang="0">
                  <a:pos x="187" y="621"/>
                </a:cxn>
                <a:cxn ang="0">
                  <a:pos x="11" y="594"/>
                </a:cxn>
                <a:cxn ang="0">
                  <a:pos x="11" y="469"/>
                </a:cxn>
                <a:cxn ang="0">
                  <a:pos x="193" y="506"/>
                </a:cxn>
                <a:cxn ang="0">
                  <a:pos x="279" y="448"/>
                </a:cxn>
                <a:cxn ang="0">
                  <a:pos x="153" y="349"/>
                </a:cxn>
                <a:cxn ang="0">
                  <a:pos x="0" y="160"/>
                </a:cxn>
                <a:cxn ang="0">
                  <a:pos x="243" y="0"/>
                </a:cxn>
                <a:cxn ang="0">
                  <a:pos x="377" y="10"/>
                </a:cxn>
                <a:cxn ang="0">
                  <a:pos x="377" y="128"/>
                </a:cxn>
              </a:cxnLst>
              <a:rect l="0" t="0" r="r" b="b"/>
              <a:pathLst>
                <a:path w="441" h="621">
                  <a:moveTo>
                    <a:pt x="377" y="128"/>
                  </a:moveTo>
                  <a:lnTo>
                    <a:pt x="377" y="128"/>
                  </a:lnTo>
                  <a:cubicBezTo>
                    <a:pt x="341" y="122"/>
                    <a:pt x="306" y="114"/>
                    <a:pt x="270" y="114"/>
                  </a:cubicBezTo>
                  <a:cubicBezTo>
                    <a:pt x="207" y="114"/>
                    <a:pt x="163" y="129"/>
                    <a:pt x="163" y="160"/>
                  </a:cubicBezTo>
                  <a:cubicBezTo>
                    <a:pt x="163" y="195"/>
                    <a:pt x="223" y="224"/>
                    <a:pt x="290" y="260"/>
                  </a:cubicBezTo>
                  <a:cubicBezTo>
                    <a:pt x="353" y="294"/>
                    <a:pt x="441" y="340"/>
                    <a:pt x="441" y="443"/>
                  </a:cubicBezTo>
                  <a:cubicBezTo>
                    <a:pt x="441" y="557"/>
                    <a:pt x="340" y="621"/>
                    <a:pt x="187" y="621"/>
                  </a:cubicBezTo>
                  <a:cubicBezTo>
                    <a:pt x="117" y="621"/>
                    <a:pt x="69" y="607"/>
                    <a:pt x="11" y="594"/>
                  </a:cubicBezTo>
                  <a:lnTo>
                    <a:pt x="11" y="469"/>
                  </a:lnTo>
                  <a:cubicBezTo>
                    <a:pt x="56" y="482"/>
                    <a:pt x="128" y="506"/>
                    <a:pt x="193" y="506"/>
                  </a:cubicBezTo>
                  <a:cubicBezTo>
                    <a:pt x="236" y="506"/>
                    <a:pt x="279" y="487"/>
                    <a:pt x="279" y="448"/>
                  </a:cubicBezTo>
                  <a:cubicBezTo>
                    <a:pt x="279" y="412"/>
                    <a:pt x="227" y="391"/>
                    <a:pt x="153" y="349"/>
                  </a:cubicBezTo>
                  <a:cubicBezTo>
                    <a:pt x="86" y="316"/>
                    <a:pt x="0" y="247"/>
                    <a:pt x="0" y="160"/>
                  </a:cubicBezTo>
                  <a:cubicBezTo>
                    <a:pt x="0" y="57"/>
                    <a:pt x="104" y="0"/>
                    <a:pt x="243" y="0"/>
                  </a:cubicBezTo>
                  <a:cubicBezTo>
                    <a:pt x="288" y="0"/>
                    <a:pt x="333" y="4"/>
                    <a:pt x="377" y="10"/>
                  </a:cubicBezTo>
                  <a:lnTo>
                    <a:pt x="377" y="128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2" name="Freeform 17"/>
            <p:cNvSpPr>
              <a:spLocks noChangeAspect="1"/>
            </p:cNvSpPr>
            <p:nvPr/>
          </p:nvSpPr>
          <p:spPr bwMode="gray">
            <a:xfrm>
              <a:off x="1772" y="2564"/>
              <a:ext cx="215" cy="743"/>
            </a:xfrm>
            <a:custGeom>
              <a:avLst/>
              <a:gdLst/>
              <a:ahLst/>
              <a:cxnLst>
                <a:cxn ang="0">
                  <a:pos x="18" y="817"/>
                </a:cxn>
                <a:cxn ang="0">
                  <a:pos x="18" y="817"/>
                </a:cxn>
                <a:cxn ang="0">
                  <a:pos x="24" y="606"/>
                </a:cxn>
                <a:cxn ang="0">
                  <a:pos x="24" y="287"/>
                </a:cxn>
                <a:cxn ang="0">
                  <a:pos x="0" y="0"/>
                </a:cxn>
                <a:cxn ang="0">
                  <a:pos x="211" y="0"/>
                </a:cxn>
                <a:cxn ang="0">
                  <a:pos x="205" y="232"/>
                </a:cxn>
                <a:cxn ang="0">
                  <a:pos x="205" y="530"/>
                </a:cxn>
                <a:cxn ang="0">
                  <a:pos x="229" y="817"/>
                </a:cxn>
                <a:cxn ang="0">
                  <a:pos x="18" y="817"/>
                </a:cxn>
              </a:cxnLst>
              <a:rect l="0" t="0" r="r" b="b"/>
              <a:pathLst>
                <a:path w="229" h="817">
                  <a:moveTo>
                    <a:pt x="18" y="817"/>
                  </a:moveTo>
                  <a:lnTo>
                    <a:pt x="18" y="817"/>
                  </a:lnTo>
                  <a:cubicBezTo>
                    <a:pt x="22" y="750"/>
                    <a:pt x="24" y="699"/>
                    <a:pt x="24" y="606"/>
                  </a:cubicBezTo>
                  <a:lnTo>
                    <a:pt x="24" y="287"/>
                  </a:lnTo>
                  <a:cubicBezTo>
                    <a:pt x="24" y="172"/>
                    <a:pt x="17" y="85"/>
                    <a:pt x="0" y="0"/>
                  </a:cubicBezTo>
                  <a:lnTo>
                    <a:pt x="211" y="0"/>
                  </a:lnTo>
                  <a:cubicBezTo>
                    <a:pt x="211" y="59"/>
                    <a:pt x="205" y="140"/>
                    <a:pt x="205" y="232"/>
                  </a:cubicBezTo>
                  <a:lnTo>
                    <a:pt x="205" y="530"/>
                  </a:lnTo>
                  <a:cubicBezTo>
                    <a:pt x="205" y="614"/>
                    <a:pt x="218" y="739"/>
                    <a:pt x="229" y="817"/>
                  </a:cubicBezTo>
                  <a:lnTo>
                    <a:pt x="18" y="817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" name="Freeform 18"/>
            <p:cNvSpPr>
              <a:spLocks noChangeAspect="1" noEditPoints="1"/>
            </p:cNvSpPr>
            <p:nvPr/>
          </p:nvSpPr>
          <p:spPr bwMode="gray">
            <a:xfrm>
              <a:off x="2095" y="2758"/>
              <a:ext cx="602" cy="785"/>
            </a:xfrm>
            <a:custGeom>
              <a:avLst/>
              <a:gdLst/>
              <a:ahLst/>
              <a:cxnLst>
                <a:cxn ang="0">
                  <a:pos x="210" y="851"/>
                </a:cxn>
                <a:cxn ang="0">
                  <a:pos x="210" y="851"/>
                </a:cxn>
                <a:cxn ang="0">
                  <a:pos x="198" y="632"/>
                </a:cxn>
                <a:cxn ang="0">
                  <a:pos x="198" y="564"/>
                </a:cxn>
                <a:cxn ang="0">
                  <a:pos x="385" y="621"/>
                </a:cxn>
                <a:cxn ang="0">
                  <a:pos x="662" y="322"/>
                </a:cxn>
                <a:cxn ang="0">
                  <a:pos x="378" y="0"/>
                </a:cxn>
                <a:cxn ang="0">
                  <a:pos x="174" y="98"/>
                </a:cxn>
                <a:cxn ang="0">
                  <a:pos x="153" y="15"/>
                </a:cxn>
                <a:cxn ang="0">
                  <a:pos x="0" y="26"/>
                </a:cxn>
                <a:cxn ang="0">
                  <a:pos x="36" y="323"/>
                </a:cxn>
                <a:cxn ang="0">
                  <a:pos x="36" y="564"/>
                </a:cxn>
                <a:cxn ang="0">
                  <a:pos x="12" y="863"/>
                </a:cxn>
                <a:cxn ang="0">
                  <a:pos x="210" y="851"/>
                </a:cxn>
                <a:cxn ang="0">
                  <a:pos x="210" y="851"/>
                </a:cxn>
                <a:cxn ang="0">
                  <a:pos x="186" y="323"/>
                </a:cxn>
                <a:cxn ang="0">
                  <a:pos x="186" y="323"/>
                </a:cxn>
                <a:cxn ang="0">
                  <a:pos x="338" y="125"/>
                </a:cxn>
                <a:cxn ang="0">
                  <a:pos x="500" y="323"/>
                </a:cxn>
                <a:cxn ang="0">
                  <a:pos x="345" y="495"/>
                </a:cxn>
                <a:cxn ang="0">
                  <a:pos x="186" y="323"/>
                </a:cxn>
              </a:cxnLst>
              <a:rect l="0" t="0" r="r" b="b"/>
              <a:pathLst>
                <a:path w="662" h="863">
                  <a:moveTo>
                    <a:pt x="210" y="851"/>
                  </a:moveTo>
                  <a:lnTo>
                    <a:pt x="210" y="851"/>
                  </a:lnTo>
                  <a:cubicBezTo>
                    <a:pt x="198" y="763"/>
                    <a:pt x="198" y="664"/>
                    <a:pt x="198" y="632"/>
                  </a:cubicBezTo>
                  <a:lnTo>
                    <a:pt x="198" y="564"/>
                  </a:lnTo>
                  <a:cubicBezTo>
                    <a:pt x="242" y="589"/>
                    <a:pt x="288" y="621"/>
                    <a:pt x="385" y="621"/>
                  </a:cubicBezTo>
                  <a:cubicBezTo>
                    <a:pt x="550" y="621"/>
                    <a:pt x="662" y="495"/>
                    <a:pt x="662" y="322"/>
                  </a:cubicBezTo>
                  <a:cubicBezTo>
                    <a:pt x="662" y="134"/>
                    <a:pt x="546" y="0"/>
                    <a:pt x="378" y="0"/>
                  </a:cubicBezTo>
                  <a:cubicBezTo>
                    <a:pt x="261" y="0"/>
                    <a:pt x="213" y="56"/>
                    <a:pt x="174" y="98"/>
                  </a:cubicBezTo>
                  <a:cubicBezTo>
                    <a:pt x="166" y="67"/>
                    <a:pt x="162" y="41"/>
                    <a:pt x="153" y="15"/>
                  </a:cubicBezTo>
                  <a:lnTo>
                    <a:pt x="0" y="26"/>
                  </a:lnTo>
                  <a:cubicBezTo>
                    <a:pt x="19" y="127"/>
                    <a:pt x="36" y="220"/>
                    <a:pt x="36" y="323"/>
                  </a:cubicBezTo>
                  <a:lnTo>
                    <a:pt x="36" y="564"/>
                  </a:lnTo>
                  <a:cubicBezTo>
                    <a:pt x="36" y="648"/>
                    <a:pt x="18" y="808"/>
                    <a:pt x="12" y="863"/>
                  </a:cubicBezTo>
                  <a:lnTo>
                    <a:pt x="210" y="851"/>
                  </a:lnTo>
                  <a:lnTo>
                    <a:pt x="210" y="851"/>
                  </a:lnTo>
                  <a:close/>
                  <a:moveTo>
                    <a:pt x="186" y="323"/>
                  </a:moveTo>
                  <a:lnTo>
                    <a:pt x="186" y="323"/>
                  </a:lnTo>
                  <a:cubicBezTo>
                    <a:pt x="186" y="206"/>
                    <a:pt x="236" y="125"/>
                    <a:pt x="338" y="125"/>
                  </a:cubicBezTo>
                  <a:cubicBezTo>
                    <a:pt x="433" y="125"/>
                    <a:pt x="500" y="207"/>
                    <a:pt x="500" y="323"/>
                  </a:cubicBezTo>
                  <a:cubicBezTo>
                    <a:pt x="500" y="426"/>
                    <a:pt x="448" y="495"/>
                    <a:pt x="345" y="495"/>
                  </a:cubicBezTo>
                  <a:cubicBezTo>
                    <a:pt x="244" y="495"/>
                    <a:pt x="186" y="437"/>
                    <a:pt x="186" y="323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4" name="Freeform 19"/>
            <p:cNvSpPr>
              <a:spLocks noChangeAspect="1"/>
            </p:cNvSpPr>
            <p:nvPr/>
          </p:nvSpPr>
          <p:spPr bwMode="gray">
            <a:xfrm>
              <a:off x="2773" y="2758"/>
              <a:ext cx="398" cy="570"/>
            </a:xfrm>
            <a:custGeom>
              <a:avLst/>
              <a:gdLst/>
              <a:ahLst/>
              <a:cxnLst>
                <a:cxn ang="0">
                  <a:pos x="364" y="126"/>
                </a:cxn>
                <a:cxn ang="0">
                  <a:pos x="364" y="126"/>
                </a:cxn>
                <a:cxn ang="0">
                  <a:pos x="270" y="114"/>
                </a:cxn>
                <a:cxn ang="0">
                  <a:pos x="162" y="160"/>
                </a:cxn>
                <a:cxn ang="0">
                  <a:pos x="289" y="260"/>
                </a:cxn>
                <a:cxn ang="0">
                  <a:pos x="440" y="443"/>
                </a:cxn>
                <a:cxn ang="0">
                  <a:pos x="186" y="621"/>
                </a:cxn>
                <a:cxn ang="0">
                  <a:pos x="11" y="594"/>
                </a:cxn>
                <a:cxn ang="0">
                  <a:pos x="11" y="469"/>
                </a:cxn>
                <a:cxn ang="0">
                  <a:pos x="192" y="506"/>
                </a:cxn>
                <a:cxn ang="0">
                  <a:pos x="278" y="448"/>
                </a:cxn>
                <a:cxn ang="0">
                  <a:pos x="152" y="349"/>
                </a:cxn>
                <a:cxn ang="0">
                  <a:pos x="0" y="160"/>
                </a:cxn>
                <a:cxn ang="0">
                  <a:pos x="242" y="0"/>
                </a:cxn>
                <a:cxn ang="0">
                  <a:pos x="387" y="12"/>
                </a:cxn>
                <a:cxn ang="0">
                  <a:pos x="364" y="126"/>
                </a:cxn>
              </a:cxnLst>
              <a:rect l="0" t="0" r="r" b="b"/>
              <a:pathLst>
                <a:path w="440" h="621">
                  <a:moveTo>
                    <a:pt x="364" y="126"/>
                  </a:moveTo>
                  <a:lnTo>
                    <a:pt x="364" y="126"/>
                  </a:lnTo>
                  <a:cubicBezTo>
                    <a:pt x="328" y="120"/>
                    <a:pt x="306" y="114"/>
                    <a:pt x="270" y="114"/>
                  </a:cubicBezTo>
                  <a:cubicBezTo>
                    <a:pt x="206" y="114"/>
                    <a:pt x="162" y="129"/>
                    <a:pt x="162" y="160"/>
                  </a:cubicBezTo>
                  <a:cubicBezTo>
                    <a:pt x="162" y="195"/>
                    <a:pt x="222" y="224"/>
                    <a:pt x="289" y="260"/>
                  </a:cubicBezTo>
                  <a:cubicBezTo>
                    <a:pt x="353" y="294"/>
                    <a:pt x="440" y="340"/>
                    <a:pt x="440" y="443"/>
                  </a:cubicBezTo>
                  <a:cubicBezTo>
                    <a:pt x="440" y="557"/>
                    <a:pt x="339" y="621"/>
                    <a:pt x="186" y="621"/>
                  </a:cubicBezTo>
                  <a:cubicBezTo>
                    <a:pt x="116" y="621"/>
                    <a:pt x="68" y="607"/>
                    <a:pt x="11" y="594"/>
                  </a:cubicBezTo>
                  <a:lnTo>
                    <a:pt x="11" y="469"/>
                  </a:lnTo>
                  <a:cubicBezTo>
                    <a:pt x="55" y="482"/>
                    <a:pt x="127" y="506"/>
                    <a:pt x="192" y="506"/>
                  </a:cubicBezTo>
                  <a:cubicBezTo>
                    <a:pt x="235" y="506"/>
                    <a:pt x="278" y="487"/>
                    <a:pt x="278" y="448"/>
                  </a:cubicBezTo>
                  <a:cubicBezTo>
                    <a:pt x="278" y="412"/>
                    <a:pt x="227" y="391"/>
                    <a:pt x="152" y="349"/>
                  </a:cubicBezTo>
                  <a:cubicBezTo>
                    <a:pt x="85" y="316"/>
                    <a:pt x="0" y="247"/>
                    <a:pt x="0" y="160"/>
                  </a:cubicBezTo>
                  <a:cubicBezTo>
                    <a:pt x="0" y="57"/>
                    <a:pt x="103" y="0"/>
                    <a:pt x="242" y="0"/>
                  </a:cubicBezTo>
                  <a:cubicBezTo>
                    <a:pt x="288" y="0"/>
                    <a:pt x="342" y="6"/>
                    <a:pt x="387" y="12"/>
                  </a:cubicBezTo>
                  <a:lnTo>
                    <a:pt x="364" y="126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9" name="Line 4"/>
          <p:cNvSpPr>
            <a:spLocks noChangeShapeType="1"/>
          </p:cNvSpPr>
          <p:nvPr/>
        </p:nvSpPr>
        <p:spPr bwMode="auto">
          <a:xfrm flipH="1">
            <a:off x="6289914" y="2803525"/>
            <a:ext cx="3623262" cy="249238"/>
          </a:xfrm>
          <a:prstGeom prst="line">
            <a:avLst/>
          </a:prstGeom>
          <a:solidFill>
            <a:schemeClr val="bg1"/>
          </a:solidFill>
          <a:ln w="12700">
            <a:solidFill>
              <a:srgbClr val="FFFFFF">
                <a:alpha val="49804"/>
              </a:srgbClr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42" name="Gruppieren 41"/>
          <p:cNvGrpSpPr>
            <a:grpSpLocks noChangeAspect="1"/>
          </p:cNvGrpSpPr>
          <p:nvPr userDrawn="1"/>
        </p:nvGrpSpPr>
        <p:grpSpPr bwMode="black">
          <a:xfrm>
            <a:off x="9148639" y="6566400"/>
            <a:ext cx="2116912" cy="216000"/>
            <a:chOff x="257175" y="2757488"/>
            <a:chExt cx="8636000" cy="1174751"/>
          </a:xfrm>
          <a:solidFill>
            <a:schemeClr val="bg1"/>
          </a:solidFill>
        </p:grpSpPr>
        <p:sp>
          <p:nvSpPr>
            <p:cNvPr id="43" name="Freeform 7"/>
            <p:cNvSpPr>
              <a:spLocks/>
            </p:cNvSpPr>
            <p:nvPr/>
          </p:nvSpPr>
          <p:spPr bwMode="black">
            <a:xfrm>
              <a:off x="257175" y="2828926"/>
              <a:ext cx="219075" cy="822325"/>
            </a:xfrm>
            <a:custGeom>
              <a:avLst/>
              <a:gdLst>
                <a:gd name="T0" fmla="*/ 5 w 64"/>
                <a:gd name="T1" fmla="*/ 241 h 241"/>
                <a:gd name="T2" fmla="*/ 7 w 64"/>
                <a:gd name="T3" fmla="*/ 179 h 241"/>
                <a:gd name="T4" fmla="*/ 7 w 64"/>
                <a:gd name="T5" fmla="*/ 84 h 241"/>
                <a:gd name="T6" fmla="*/ 0 w 64"/>
                <a:gd name="T7" fmla="*/ 0 h 241"/>
                <a:gd name="T8" fmla="*/ 59 w 64"/>
                <a:gd name="T9" fmla="*/ 0 h 241"/>
                <a:gd name="T10" fmla="*/ 58 w 64"/>
                <a:gd name="T11" fmla="*/ 68 h 241"/>
                <a:gd name="T12" fmla="*/ 58 w 64"/>
                <a:gd name="T13" fmla="*/ 156 h 241"/>
                <a:gd name="T14" fmla="*/ 64 w 64"/>
                <a:gd name="T15" fmla="*/ 241 h 241"/>
                <a:gd name="T16" fmla="*/ 5 w 64"/>
                <a:gd name="T17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4" h="241">
                  <a:moveTo>
                    <a:pt x="5" y="241"/>
                  </a:moveTo>
                  <a:cubicBezTo>
                    <a:pt x="6" y="222"/>
                    <a:pt x="7" y="206"/>
                    <a:pt x="7" y="179"/>
                  </a:cubicBezTo>
                  <a:cubicBezTo>
                    <a:pt x="7" y="84"/>
                    <a:pt x="7" y="84"/>
                    <a:pt x="7" y="84"/>
                  </a:cubicBezTo>
                  <a:cubicBezTo>
                    <a:pt x="7" y="50"/>
                    <a:pt x="5" y="25"/>
                    <a:pt x="0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59" y="17"/>
                    <a:pt x="58" y="41"/>
                    <a:pt x="58" y="68"/>
                  </a:cubicBezTo>
                  <a:cubicBezTo>
                    <a:pt x="58" y="156"/>
                    <a:pt x="58" y="156"/>
                    <a:pt x="58" y="156"/>
                  </a:cubicBezTo>
                  <a:cubicBezTo>
                    <a:pt x="58" y="181"/>
                    <a:pt x="61" y="218"/>
                    <a:pt x="64" y="241"/>
                  </a:cubicBezTo>
                  <a:lnTo>
                    <a:pt x="5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4" name="Freeform 8"/>
            <p:cNvSpPr>
              <a:spLocks noEditPoints="1"/>
            </p:cNvSpPr>
            <p:nvPr/>
          </p:nvSpPr>
          <p:spPr bwMode="black">
            <a:xfrm>
              <a:off x="598488" y="3044826"/>
              <a:ext cx="633413" cy="873125"/>
            </a:xfrm>
            <a:custGeom>
              <a:avLst/>
              <a:gdLst>
                <a:gd name="T0" fmla="*/ 3 w 186"/>
                <a:gd name="T1" fmla="*/ 256 h 256"/>
                <a:gd name="T2" fmla="*/ 10 w 186"/>
                <a:gd name="T3" fmla="*/ 167 h 256"/>
                <a:gd name="T4" fmla="*/ 10 w 186"/>
                <a:gd name="T5" fmla="*/ 96 h 256"/>
                <a:gd name="T6" fmla="*/ 0 w 186"/>
                <a:gd name="T7" fmla="*/ 8 h 256"/>
                <a:gd name="T8" fmla="*/ 43 w 186"/>
                <a:gd name="T9" fmla="*/ 4 h 256"/>
                <a:gd name="T10" fmla="*/ 49 w 186"/>
                <a:gd name="T11" fmla="*/ 29 h 256"/>
                <a:gd name="T12" fmla="*/ 106 w 186"/>
                <a:gd name="T13" fmla="*/ 0 h 256"/>
                <a:gd name="T14" fmla="*/ 186 w 186"/>
                <a:gd name="T15" fmla="*/ 96 h 256"/>
                <a:gd name="T16" fmla="*/ 108 w 186"/>
                <a:gd name="T17" fmla="*/ 184 h 256"/>
                <a:gd name="T18" fmla="*/ 56 w 186"/>
                <a:gd name="T19" fmla="*/ 167 h 256"/>
                <a:gd name="T20" fmla="*/ 56 w 186"/>
                <a:gd name="T21" fmla="*/ 188 h 256"/>
                <a:gd name="T22" fmla="*/ 59 w 186"/>
                <a:gd name="T23" fmla="*/ 252 h 256"/>
                <a:gd name="T24" fmla="*/ 3 w 186"/>
                <a:gd name="T25" fmla="*/ 256 h 256"/>
                <a:gd name="T26" fmla="*/ 97 w 186"/>
                <a:gd name="T27" fmla="*/ 147 h 256"/>
                <a:gd name="T28" fmla="*/ 141 w 186"/>
                <a:gd name="T29" fmla="*/ 96 h 256"/>
                <a:gd name="T30" fmla="*/ 95 w 186"/>
                <a:gd name="T31" fmla="*/ 37 h 256"/>
                <a:gd name="T32" fmla="*/ 52 w 186"/>
                <a:gd name="T33" fmla="*/ 96 h 256"/>
                <a:gd name="T34" fmla="*/ 97 w 186"/>
                <a:gd name="T35" fmla="*/ 147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6" h="256">
                  <a:moveTo>
                    <a:pt x="3" y="256"/>
                  </a:moveTo>
                  <a:cubicBezTo>
                    <a:pt x="5" y="240"/>
                    <a:pt x="10" y="192"/>
                    <a:pt x="10" y="167"/>
                  </a:cubicBezTo>
                  <a:cubicBezTo>
                    <a:pt x="10" y="96"/>
                    <a:pt x="10" y="96"/>
                    <a:pt x="10" y="96"/>
                  </a:cubicBezTo>
                  <a:cubicBezTo>
                    <a:pt x="10" y="65"/>
                    <a:pt x="5" y="37"/>
                    <a:pt x="0" y="8"/>
                  </a:cubicBezTo>
                  <a:cubicBezTo>
                    <a:pt x="43" y="4"/>
                    <a:pt x="43" y="4"/>
                    <a:pt x="43" y="4"/>
                  </a:cubicBezTo>
                  <a:cubicBezTo>
                    <a:pt x="45" y="12"/>
                    <a:pt x="47" y="20"/>
                    <a:pt x="49" y="29"/>
                  </a:cubicBezTo>
                  <a:cubicBezTo>
                    <a:pt x="60" y="17"/>
                    <a:pt x="73" y="0"/>
                    <a:pt x="106" y="0"/>
                  </a:cubicBezTo>
                  <a:cubicBezTo>
                    <a:pt x="154" y="0"/>
                    <a:pt x="186" y="40"/>
                    <a:pt x="186" y="96"/>
                  </a:cubicBezTo>
                  <a:cubicBezTo>
                    <a:pt x="186" y="147"/>
                    <a:pt x="155" y="184"/>
                    <a:pt x="108" y="184"/>
                  </a:cubicBezTo>
                  <a:cubicBezTo>
                    <a:pt x="81" y="184"/>
                    <a:pt x="68" y="175"/>
                    <a:pt x="56" y="167"/>
                  </a:cubicBezTo>
                  <a:cubicBezTo>
                    <a:pt x="56" y="188"/>
                    <a:pt x="56" y="188"/>
                    <a:pt x="56" y="188"/>
                  </a:cubicBezTo>
                  <a:cubicBezTo>
                    <a:pt x="56" y="197"/>
                    <a:pt x="56" y="226"/>
                    <a:pt x="59" y="252"/>
                  </a:cubicBezTo>
                  <a:lnTo>
                    <a:pt x="3" y="256"/>
                  </a:lnTo>
                  <a:close/>
                  <a:moveTo>
                    <a:pt x="97" y="147"/>
                  </a:moveTo>
                  <a:cubicBezTo>
                    <a:pt x="126" y="147"/>
                    <a:pt x="141" y="126"/>
                    <a:pt x="141" y="96"/>
                  </a:cubicBezTo>
                  <a:cubicBezTo>
                    <a:pt x="141" y="62"/>
                    <a:pt x="122" y="37"/>
                    <a:pt x="95" y="37"/>
                  </a:cubicBezTo>
                  <a:cubicBezTo>
                    <a:pt x="66" y="37"/>
                    <a:pt x="52" y="61"/>
                    <a:pt x="52" y="96"/>
                  </a:cubicBezTo>
                  <a:cubicBezTo>
                    <a:pt x="52" y="129"/>
                    <a:pt x="69" y="147"/>
                    <a:pt x="97" y="1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" name="Freeform 9"/>
            <p:cNvSpPr>
              <a:spLocks/>
            </p:cNvSpPr>
            <p:nvPr/>
          </p:nvSpPr>
          <p:spPr bwMode="black">
            <a:xfrm>
              <a:off x="1308100" y="3044826"/>
              <a:ext cx="425450" cy="627063"/>
            </a:xfrm>
            <a:custGeom>
              <a:avLst/>
              <a:gdLst>
                <a:gd name="T0" fmla="*/ 107 w 125"/>
                <a:gd name="T1" fmla="*/ 38 h 184"/>
                <a:gd name="T2" fmla="*/ 77 w 125"/>
                <a:gd name="T3" fmla="*/ 34 h 184"/>
                <a:gd name="T4" fmla="*/ 46 w 125"/>
                <a:gd name="T5" fmla="*/ 48 h 184"/>
                <a:gd name="T6" fmla="*/ 82 w 125"/>
                <a:gd name="T7" fmla="*/ 77 h 184"/>
                <a:gd name="T8" fmla="*/ 125 w 125"/>
                <a:gd name="T9" fmla="*/ 132 h 184"/>
                <a:gd name="T10" fmla="*/ 53 w 125"/>
                <a:gd name="T11" fmla="*/ 184 h 184"/>
                <a:gd name="T12" fmla="*/ 4 w 125"/>
                <a:gd name="T13" fmla="*/ 176 h 184"/>
                <a:gd name="T14" fmla="*/ 4 w 125"/>
                <a:gd name="T15" fmla="*/ 139 h 184"/>
                <a:gd name="T16" fmla="*/ 55 w 125"/>
                <a:gd name="T17" fmla="*/ 150 h 184"/>
                <a:gd name="T18" fmla="*/ 79 w 125"/>
                <a:gd name="T19" fmla="*/ 133 h 184"/>
                <a:gd name="T20" fmla="*/ 44 w 125"/>
                <a:gd name="T21" fmla="*/ 104 h 184"/>
                <a:gd name="T22" fmla="*/ 0 w 125"/>
                <a:gd name="T23" fmla="*/ 48 h 184"/>
                <a:gd name="T24" fmla="*/ 69 w 125"/>
                <a:gd name="T25" fmla="*/ 0 h 184"/>
                <a:gd name="T26" fmla="*/ 107 w 125"/>
                <a:gd name="T27" fmla="*/ 3 h 184"/>
                <a:gd name="T28" fmla="*/ 107 w 125"/>
                <a:gd name="T29" fmla="*/ 38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" h="184">
                  <a:moveTo>
                    <a:pt x="107" y="38"/>
                  </a:moveTo>
                  <a:cubicBezTo>
                    <a:pt x="97" y="36"/>
                    <a:pt x="87" y="34"/>
                    <a:pt x="77" y="34"/>
                  </a:cubicBezTo>
                  <a:cubicBezTo>
                    <a:pt x="59" y="34"/>
                    <a:pt x="46" y="38"/>
                    <a:pt x="46" y="48"/>
                  </a:cubicBezTo>
                  <a:cubicBezTo>
                    <a:pt x="46" y="58"/>
                    <a:pt x="63" y="67"/>
                    <a:pt x="82" y="77"/>
                  </a:cubicBezTo>
                  <a:cubicBezTo>
                    <a:pt x="100" y="87"/>
                    <a:pt x="125" y="101"/>
                    <a:pt x="125" y="132"/>
                  </a:cubicBezTo>
                  <a:cubicBezTo>
                    <a:pt x="125" y="165"/>
                    <a:pt x="97" y="184"/>
                    <a:pt x="53" y="184"/>
                  </a:cubicBezTo>
                  <a:cubicBezTo>
                    <a:pt x="33" y="184"/>
                    <a:pt x="20" y="180"/>
                    <a:pt x="4" y="176"/>
                  </a:cubicBezTo>
                  <a:cubicBezTo>
                    <a:pt x="4" y="139"/>
                    <a:pt x="4" y="139"/>
                    <a:pt x="4" y="139"/>
                  </a:cubicBezTo>
                  <a:cubicBezTo>
                    <a:pt x="16" y="143"/>
                    <a:pt x="37" y="150"/>
                    <a:pt x="55" y="150"/>
                  </a:cubicBezTo>
                  <a:cubicBezTo>
                    <a:pt x="67" y="150"/>
                    <a:pt x="79" y="144"/>
                    <a:pt x="79" y="133"/>
                  </a:cubicBezTo>
                  <a:cubicBezTo>
                    <a:pt x="79" y="122"/>
                    <a:pt x="65" y="116"/>
                    <a:pt x="44" y="104"/>
                  </a:cubicBezTo>
                  <a:cubicBezTo>
                    <a:pt x="25" y="94"/>
                    <a:pt x="0" y="73"/>
                    <a:pt x="0" y="48"/>
                  </a:cubicBezTo>
                  <a:cubicBezTo>
                    <a:pt x="0" y="17"/>
                    <a:pt x="30" y="0"/>
                    <a:pt x="69" y="0"/>
                  </a:cubicBezTo>
                  <a:cubicBezTo>
                    <a:pt x="82" y="0"/>
                    <a:pt x="95" y="1"/>
                    <a:pt x="107" y="3"/>
                  </a:cubicBezTo>
                  <a:lnTo>
                    <a:pt x="107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6" name="Freeform 10"/>
            <p:cNvSpPr>
              <a:spLocks noEditPoints="1"/>
            </p:cNvSpPr>
            <p:nvPr/>
          </p:nvSpPr>
          <p:spPr bwMode="black">
            <a:xfrm>
              <a:off x="1792288" y="3044826"/>
              <a:ext cx="615950" cy="627063"/>
            </a:xfrm>
            <a:custGeom>
              <a:avLst/>
              <a:gdLst>
                <a:gd name="T0" fmla="*/ 0 w 181"/>
                <a:gd name="T1" fmla="*/ 91 h 184"/>
                <a:gd name="T2" fmla="*/ 91 w 181"/>
                <a:gd name="T3" fmla="*/ 0 h 184"/>
                <a:gd name="T4" fmla="*/ 181 w 181"/>
                <a:gd name="T5" fmla="*/ 91 h 184"/>
                <a:gd name="T6" fmla="*/ 91 w 181"/>
                <a:gd name="T7" fmla="*/ 184 h 184"/>
                <a:gd name="T8" fmla="*/ 0 w 181"/>
                <a:gd name="T9" fmla="*/ 91 h 184"/>
                <a:gd name="T10" fmla="*/ 91 w 181"/>
                <a:gd name="T11" fmla="*/ 147 h 184"/>
                <a:gd name="T12" fmla="*/ 135 w 181"/>
                <a:gd name="T13" fmla="*/ 91 h 184"/>
                <a:gd name="T14" fmla="*/ 91 w 181"/>
                <a:gd name="T15" fmla="*/ 37 h 184"/>
                <a:gd name="T16" fmla="*/ 46 w 181"/>
                <a:gd name="T17" fmla="*/ 91 h 184"/>
                <a:gd name="T18" fmla="*/ 91 w 181"/>
                <a:gd name="T19" fmla="*/ 147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1" h="184">
                  <a:moveTo>
                    <a:pt x="0" y="91"/>
                  </a:moveTo>
                  <a:cubicBezTo>
                    <a:pt x="0" y="36"/>
                    <a:pt x="37" y="0"/>
                    <a:pt x="91" y="0"/>
                  </a:cubicBezTo>
                  <a:cubicBezTo>
                    <a:pt x="145" y="0"/>
                    <a:pt x="181" y="37"/>
                    <a:pt x="181" y="91"/>
                  </a:cubicBezTo>
                  <a:cubicBezTo>
                    <a:pt x="181" y="142"/>
                    <a:pt x="145" y="184"/>
                    <a:pt x="91" y="184"/>
                  </a:cubicBezTo>
                  <a:cubicBezTo>
                    <a:pt x="38" y="184"/>
                    <a:pt x="0" y="145"/>
                    <a:pt x="0" y="91"/>
                  </a:cubicBezTo>
                  <a:close/>
                  <a:moveTo>
                    <a:pt x="91" y="147"/>
                  </a:moveTo>
                  <a:cubicBezTo>
                    <a:pt x="121" y="147"/>
                    <a:pt x="135" y="123"/>
                    <a:pt x="135" y="91"/>
                  </a:cubicBezTo>
                  <a:cubicBezTo>
                    <a:pt x="135" y="57"/>
                    <a:pt x="121" y="37"/>
                    <a:pt x="91" y="37"/>
                  </a:cubicBezTo>
                  <a:cubicBezTo>
                    <a:pt x="61" y="37"/>
                    <a:pt x="46" y="59"/>
                    <a:pt x="46" y="91"/>
                  </a:cubicBezTo>
                  <a:cubicBezTo>
                    <a:pt x="46" y="123"/>
                    <a:pt x="63" y="147"/>
                    <a:pt x="91" y="1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7" name="Freeform 11"/>
            <p:cNvSpPr>
              <a:spLocks/>
            </p:cNvSpPr>
            <p:nvPr/>
          </p:nvSpPr>
          <p:spPr bwMode="black">
            <a:xfrm>
              <a:off x="2490788" y="3044826"/>
              <a:ext cx="422275" cy="627063"/>
            </a:xfrm>
            <a:custGeom>
              <a:avLst/>
              <a:gdLst>
                <a:gd name="T0" fmla="*/ 106 w 124"/>
                <a:gd name="T1" fmla="*/ 38 h 184"/>
                <a:gd name="T2" fmla="*/ 76 w 124"/>
                <a:gd name="T3" fmla="*/ 34 h 184"/>
                <a:gd name="T4" fmla="*/ 45 w 124"/>
                <a:gd name="T5" fmla="*/ 48 h 184"/>
                <a:gd name="T6" fmla="*/ 81 w 124"/>
                <a:gd name="T7" fmla="*/ 77 h 184"/>
                <a:gd name="T8" fmla="*/ 124 w 124"/>
                <a:gd name="T9" fmla="*/ 132 h 184"/>
                <a:gd name="T10" fmla="*/ 52 w 124"/>
                <a:gd name="T11" fmla="*/ 184 h 184"/>
                <a:gd name="T12" fmla="*/ 3 w 124"/>
                <a:gd name="T13" fmla="*/ 176 h 184"/>
                <a:gd name="T14" fmla="*/ 3 w 124"/>
                <a:gd name="T15" fmla="*/ 139 h 184"/>
                <a:gd name="T16" fmla="*/ 54 w 124"/>
                <a:gd name="T17" fmla="*/ 150 h 184"/>
                <a:gd name="T18" fmla="*/ 78 w 124"/>
                <a:gd name="T19" fmla="*/ 133 h 184"/>
                <a:gd name="T20" fmla="*/ 43 w 124"/>
                <a:gd name="T21" fmla="*/ 104 h 184"/>
                <a:gd name="T22" fmla="*/ 0 w 124"/>
                <a:gd name="T23" fmla="*/ 48 h 184"/>
                <a:gd name="T24" fmla="*/ 68 w 124"/>
                <a:gd name="T25" fmla="*/ 0 h 184"/>
                <a:gd name="T26" fmla="*/ 106 w 124"/>
                <a:gd name="T27" fmla="*/ 3 h 184"/>
                <a:gd name="T28" fmla="*/ 106 w 124"/>
                <a:gd name="T29" fmla="*/ 38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4" h="184">
                  <a:moveTo>
                    <a:pt x="106" y="38"/>
                  </a:moveTo>
                  <a:cubicBezTo>
                    <a:pt x="96" y="36"/>
                    <a:pt x="86" y="34"/>
                    <a:pt x="76" y="34"/>
                  </a:cubicBezTo>
                  <a:cubicBezTo>
                    <a:pt x="58" y="34"/>
                    <a:pt x="45" y="38"/>
                    <a:pt x="45" y="48"/>
                  </a:cubicBezTo>
                  <a:cubicBezTo>
                    <a:pt x="45" y="58"/>
                    <a:pt x="62" y="67"/>
                    <a:pt x="81" y="77"/>
                  </a:cubicBezTo>
                  <a:cubicBezTo>
                    <a:pt x="99" y="87"/>
                    <a:pt x="124" y="101"/>
                    <a:pt x="124" y="132"/>
                  </a:cubicBezTo>
                  <a:cubicBezTo>
                    <a:pt x="124" y="165"/>
                    <a:pt x="96" y="184"/>
                    <a:pt x="52" y="184"/>
                  </a:cubicBezTo>
                  <a:cubicBezTo>
                    <a:pt x="33" y="184"/>
                    <a:pt x="19" y="180"/>
                    <a:pt x="3" y="176"/>
                  </a:cubicBezTo>
                  <a:cubicBezTo>
                    <a:pt x="3" y="139"/>
                    <a:pt x="3" y="139"/>
                    <a:pt x="3" y="139"/>
                  </a:cubicBezTo>
                  <a:cubicBezTo>
                    <a:pt x="15" y="143"/>
                    <a:pt x="36" y="150"/>
                    <a:pt x="54" y="150"/>
                  </a:cubicBezTo>
                  <a:cubicBezTo>
                    <a:pt x="66" y="150"/>
                    <a:pt x="78" y="144"/>
                    <a:pt x="78" y="133"/>
                  </a:cubicBezTo>
                  <a:cubicBezTo>
                    <a:pt x="78" y="122"/>
                    <a:pt x="64" y="116"/>
                    <a:pt x="43" y="104"/>
                  </a:cubicBezTo>
                  <a:cubicBezTo>
                    <a:pt x="24" y="94"/>
                    <a:pt x="0" y="73"/>
                    <a:pt x="0" y="48"/>
                  </a:cubicBezTo>
                  <a:cubicBezTo>
                    <a:pt x="0" y="17"/>
                    <a:pt x="29" y="0"/>
                    <a:pt x="68" y="0"/>
                  </a:cubicBezTo>
                  <a:cubicBezTo>
                    <a:pt x="81" y="0"/>
                    <a:pt x="94" y="1"/>
                    <a:pt x="106" y="3"/>
                  </a:cubicBezTo>
                  <a:lnTo>
                    <a:pt x="106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" name="Freeform 12"/>
            <p:cNvSpPr>
              <a:spLocks/>
            </p:cNvSpPr>
            <p:nvPr/>
          </p:nvSpPr>
          <p:spPr bwMode="black">
            <a:xfrm>
              <a:off x="3424238" y="2828926"/>
              <a:ext cx="982663" cy="842963"/>
            </a:xfrm>
            <a:custGeom>
              <a:avLst/>
              <a:gdLst>
                <a:gd name="T0" fmla="*/ 0 w 288"/>
                <a:gd name="T1" fmla="*/ 241 h 247"/>
                <a:gd name="T2" fmla="*/ 4 w 288"/>
                <a:gd name="T3" fmla="*/ 170 h 247"/>
                <a:gd name="T4" fmla="*/ 7 w 288"/>
                <a:gd name="T5" fmla="*/ 82 h 247"/>
                <a:gd name="T6" fmla="*/ 7 w 288"/>
                <a:gd name="T7" fmla="*/ 55 h 247"/>
                <a:gd name="T8" fmla="*/ 5 w 288"/>
                <a:gd name="T9" fmla="*/ 0 h 247"/>
                <a:gd name="T10" fmla="*/ 81 w 288"/>
                <a:gd name="T11" fmla="*/ 0 h 247"/>
                <a:gd name="T12" fmla="*/ 142 w 288"/>
                <a:gd name="T13" fmla="*/ 198 h 247"/>
                <a:gd name="T14" fmla="*/ 142 w 288"/>
                <a:gd name="T15" fmla="*/ 198 h 247"/>
                <a:gd name="T16" fmla="*/ 206 w 288"/>
                <a:gd name="T17" fmla="*/ 0 h 247"/>
                <a:gd name="T18" fmla="*/ 281 w 288"/>
                <a:gd name="T19" fmla="*/ 0 h 247"/>
                <a:gd name="T20" fmla="*/ 281 w 288"/>
                <a:gd name="T21" fmla="*/ 77 h 247"/>
                <a:gd name="T22" fmla="*/ 283 w 288"/>
                <a:gd name="T23" fmla="*/ 170 h 247"/>
                <a:gd name="T24" fmla="*/ 288 w 288"/>
                <a:gd name="T25" fmla="*/ 241 h 247"/>
                <a:gd name="T26" fmla="*/ 234 w 288"/>
                <a:gd name="T27" fmla="*/ 241 h 247"/>
                <a:gd name="T28" fmla="*/ 235 w 288"/>
                <a:gd name="T29" fmla="*/ 170 h 247"/>
                <a:gd name="T30" fmla="*/ 233 w 288"/>
                <a:gd name="T31" fmla="*/ 50 h 247"/>
                <a:gd name="T32" fmla="*/ 232 w 288"/>
                <a:gd name="T33" fmla="*/ 50 h 247"/>
                <a:gd name="T34" fmla="*/ 170 w 288"/>
                <a:gd name="T35" fmla="*/ 241 h 247"/>
                <a:gd name="T36" fmla="*/ 112 w 288"/>
                <a:gd name="T37" fmla="*/ 247 h 247"/>
                <a:gd name="T38" fmla="*/ 49 w 288"/>
                <a:gd name="T39" fmla="*/ 50 h 247"/>
                <a:gd name="T40" fmla="*/ 48 w 288"/>
                <a:gd name="T41" fmla="*/ 50 h 247"/>
                <a:gd name="T42" fmla="*/ 45 w 288"/>
                <a:gd name="T43" fmla="*/ 170 h 247"/>
                <a:gd name="T44" fmla="*/ 48 w 288"/>
                <a:gd name="T45" fmla="*/ 241 h 247"/>
                <a:gd name="T46" fmla="*/ 0 w 288"/>
                <a:gd name="T47" fmla="*/ 241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88" h="247">
                  <a:moveTo>
                    <a:pt x="0" y="241"/>
                  </a:moveTo>
                  <a:cubicBezTo>
                    <a:pt x="1" y="225"/>
                    <a:pt x="3" y="200"/>
                    <a:pt x="4" y="170"/>
                  </a:cubicBezTo>
                  <a:cubicBezTo>
                    <a:pt x="7" y="82"/>
                    <a:pt x="7" y="82"/>
                    <a:pt x="7" y="82"/>
                  </a:cubicBezTo>
                  <a:cubicBezTo>
                    <a:pt x="7" y="73"/>
                    <a:pt x="7" y="63"/>
                    <a:pt x="7" y="55"/>
                  </a:cubicBezTo>
                  <a:cubicBezTo>
                    <a:pt x="7" y="42"/>
                    <a:pt x="6" y="18"/>
                    <a:pt x="5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91" y="33"/>
                    <a:pt x="136" y="168"/>
                    <a:pt x="142" y="198"/>
                  </a:cubicBezTo>
                  <a:cubicBezTo>
                    <a:pt x="142" y="198"/>
                    <a:pt x="142" y="198"/>
                    <a:pt x="142" y="198"/>
                  </a:cubicBezTo>
                  <a:cubicBezTo>
                    <a:pt x="154" y="159"/>
                    <a:pt x="189" y="48"/>
                    <a:pt x="206" y="0"/>
                  </a:cubicBezTo>
                  <a:cubicBezTo>
                    <a:pt x="281" y="0"/>
                    <a:pt x="281" y="0"/>
                    <a:pt x="281" y="0"/>
                  </a:cubicBezTo>
                  <a:cubicBezTo>
                    <a:pt x="281" y="77"/>
                    <a:pt x="281" y="77"/>
                    <a:pt x="281" y="77"/>
                  </a:cubicBezTo>
                  <a:cubicBezTo>
                    <a:pt x="283" y="170"/>
                    <a:pt x="283" y="170"/>
                    <a:pt x="283" y="170"/>
                  </a:cubicBezTo>
                  <a:cubicBezTo>
                    <a:pt x="283" y="193"/>
                    <a:pt x="286" y="218"/>
                    <a:pt x="288" y="241"/>
                  </a:cubicBezTo>
                  <a:cubicBezTo>
                    <a:pt x="234" y="241"/>
                    <a:pt x="234" y="241"/>
                    <a:pt x="234" y="241"/>
                  </a:cubicBezTo>
                  <a:cubicBezTo>
                    <a:pt x="236" y="218"/>
                    <a:pt x="236" y="184"/>
                    <a:pt x="235" y="170"/>
                  </a:cubicBezTo>
                  <a:cubicBezTo>
                    <a:pt x="233" y="50"/>
                    <a:pt x="233" y="50"/>
                    <a:pt x="233" y="50"/>
                  </a:cubicBezTo>
                  <a:cubicBezTo>
                    <a:pt x="232" y="50"/>
                    <a:pt x="232" y="50"/>
                    <a:pt x="232" y="50"/>
                  </a:cubicBezTo>
                  <a:cubicBezTo>
                    <a:pt x="213" y="102"/>
                    <a:pt x="181" y="198"/>
                    <a:pt x="170" y="241"/>
                  </a:cubicBezTo>
                  <a:cubicBezTo>
                    <a:pt x="112" y="247"/>
                    <a:pt x="112" y="247"/>
                    <a:pt x="112" y="247"/>
                  </a:cubicBezTo>
                  <a:cubicBezTo>
                    <a:pt x="103" y="203"/>
                    <a:pt x="69" y="110"/>
                    <a:pt x="49" y="50"/>
                  </a:cubicBezTo>
                  <a:cubicBezTo>
                    <a:pt x="48" y="50"/>
                    <a:pt x="48" y="50"/>
                    <a:pt x="48" y="50"/>
                  </a:cubicBezTo>
                  <a:cubicBezTo>
                    <a:pt x="45" y="170"/>
                    <a:pt x="45" y="170"/>
                    <a:pt x="45" y="170"/>
                  </a:cubicBezTo>
                  <a:cubicBezTo>
                    <a:pt x="44" y="194"/>
                    <a:pt x="46" y="221"/>
                    <a:pt x="48" y="241"/>
                  </a:cubicBezTo>
                  <a:lnTo>
                    <a:pt x="0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5" name="Freeform 13"/>
            <p:cNvSpPr>
              <a:spLocks noEditPoints="1"/>
            </p:cNvSpPr>
            <p:nvPr/>
          </p:nvSpPr>
          <p:spPr bwMode="black">
            <a:xfrm>
              <a:off x="4516438" y="3044826"/>
              <a:ext cx="555625" cy="627063"/>
            </a:xfrm>
            <a:custGeom>
              <a:avLst/>
              <a:gdLst>
                <a:gd name="T0" fmla="*/ 120 w 163"/>
                <a:gd name="T1" fmla="*/ 178 h 184"/>
                <a:gd name="T2" fmla="*/ 118 w 163"/>
                <a:gd name="T3" fmla="*/ 149 h 184"/>
                <a:gd name="T4" fmla="*/ 117 w 163"/>
                <a:gd name="T5" fmla="*/ 149 h 184"/>
                <a:gd name="T6" fmla="*/ 56 w 163"/>
                <a:gd name="T7" fmla="*/ 184 h 184"/>
                <a:gd name="T8" fmla="*/ 0 w 163"/>
                <a:gd name="T9" fmla="*/ 130 h 184"/>
                <a:gd name="T10" fmla="*/ 96 w 163"/>
                <a:gd name="T11" fmla="*/ 61 h 184"/>
                <a:gd name="T12" fmla="*/ 115 w 163"/>
                <a:gd name="T13" fmla="*/ 62 h 184"/>
                <a:gd name="T14" fmla="*/ 69 w 163"/>
                <a:gd name="T15" fmla="*/ 32 h 184"/>
                <a:gd name="T16" fmla="*/ 22 w 163"/>
                <a:gd name="T17" fmla="*/ 39 h 184"/>
                <a:gd name="T18" fmla="*/ 22 w 163"/>
                <a:gd name="T19" fmla="*/ 7 h 184"/>
                <a:gd name="T20" fmla="*/ 78 w 163"/>
                <a:gd name="T21" fmla="*/ 0 h 184"/>
                <a:gd name="T22" fmla="*/ 157 w 163"/>
                <a:gd name="T23" fmla="*/ 84 h 184"/>
                <a:gd name="T24" fmla="*/ 157 w 163"/>
                <a:gd name="T25" fmla="*/ 119 h 184"/>
                <a:gd name="T26" fmla="*/ 163 w 163"/>
                <a:gd name="T27" fmla="*/ 178 h 184"/>
                <a:gd name="T28" fmla="*/ 120 w 163"/>
                <a:gd name="T29" fmla="*/ 178 h 184"/>
                <a:gd name="T30" fmla="*/ 115 w 163"/>
                <a:gd name="T31" fmla="*/ 92 h 184"/>
                <a:gd name="T32" fmla="*/ 96 w 163"/>
                <a:gd name="T33" fmla="*/ 90 h 184"/>
                <a:gd name="T34" fmla="*/ 46 w 163"/>
                <a:gd name="T35" fmla="*/ 125 h 184"/>
                <a:gd name="T36" fmla="*/ 73 w 163"/>
                <a:gd name="T37" fmla="*/ 147 h 184"/>
                <a:gd name="T38" fmla="*/ 115 w 163"/>
                <a:gd name="T39" fmla="*/ 98 h 184"/>
                <a:gd name="T40" fmla="*/ 115 w 163"/>
                <a:gd name="T41" fmla="*/ 92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3" h="184">
                  <a:moveTo>
                    <a:pt x="120" y="178"/>
                  </a:moveTo>
                  <a:cubicBezTo>
                    <a:pt x="119" y="169"/>
                    <a:pt x="118" y="158"/>
                    <a:pt x="118" y="149"/>
                  </a:cubicBezTo>
                  <a:cubicBezTo>
                    <a:pt x="117" y="149"/>
                    <a:pt x="117" y="149"/>
                    <a:pt x="117" y="149"/>
                  </a:cubicBezTo>
                  <a:cubicBezTo>
                    <a:pt x="107" y="164"/>
                    <a:pt x="90" y="184"/>
                    <a:pt x="56" y="184"/>
                  </a:cubicBezTo>
                  <a:cubicBezTo>
                    <a:pt x="24" y="184"/>
                    <a:pt x="0" y="163"/>
                    <a:pt x="0" y="130"/>
                  </a:cubicBezTo>
                  <a:cubicBezTo>
                    <a:pt x="0" y="86"/>
                    <a:pt x="40" y="61"/>
                    <a:pt x="96" y="61"/>
                  </a:cubicBezTo>
                  <a:cubicBezTo>
                    <a:pt x="103" y="61"/>
                    <a:pt x="109" y="61"/>
                    <a:pt x="115" y="62"/>
                  </a:cubicBezTo>
                  <a:cubicBezTo>
                    <a:pt x="113" y="44"/>
                    <a:pt x="104" y="32"/>
                    <a:pt x="69" y="32"/>
                  </a:cubicBezTo>
                  <a:cubicBezTo>
                    <a:pt x="51" y="32"/>
                    <a:pt x="31" y="37"/>
                    <a:pt x="22" y="39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32" y="4"/>
                    <a:pt x="50" y="0"/>
                    <a:pt x="78" y="0"/>
                  </a:cubicBezTo>
                  <a:cubicBezTo>
                    <a:pt x="155" y="0"/>
                    <a:pt x="157" y="42"/>
                    <a:pt x="157" y="84"/>
                  </a:cubicBezTo>
                  <a:cubicBezTo>
                    <a:pt x="157" y="119"/>
                    <a:pt x="157" y="119"/>
                    <a:pt x="157" y="119"/>
                  </a:cubicBezTo>
                  <a:cubicBezTo>
                    <a:pt x="157" y="140"/>
                    <a:pt x="160" y="162"/>
                    <a:pt x="163" y="178"/>
                  </a:cubicBezTo>
                  <a:lnTo>
                    <a:pt x="120" y="178"/>
                  </a:lnTo>
                  <a:close/>
                  <a:moveTo>
                    <a:pt x="115" y="92"/>
                  </a:moveTo>
                  <a:cubicBezTo>
                    <a:pt x="108" y="91"/>
                    <a:pt x="103" y="90"/>
                    <a:pt x="96" y="90"/>
                  </a:cubicBezTo>
                  <a:cubicBezTo>
                    <a:pt x="65" y="90"/>
                    <a:pt x="46" y="105"/>
                    <a:pt x="46" y="125"/>
                  </a:cubicBezTo>
                  <a:cubicBezTo>
                    <a:pt x="46" y="138"/>
                    <a:pt x="57" y="147"/>
                    <a:pt x="73" y="147"/>
                  </a:cubicBezTo>
                  <a:cubicBezTo>
                    <a:pt x="101" y="147"/>
                    <a:pt x="115" y="120"/>
                    <a:pt x="115" y="98"/>
                  </a:cubicBezTo>
                  <a:lnTo>
                    <a:pt x="115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6" name="Freeform 14"/>
            <p:cNvSpPr>
              <a:spLocks/>
            </p:cNvSpPr>
            <p:nvPr/>
          </p:nvSpPr>
          <p:spPr bwMode="black">
            <a:xfrm>
              <a:off x="5170488" y="3044826"/>
              <a:ext cx="371475" cy="606425"/>
            </a:xfrm>
            <a:custGeom>
              <a:avLst/>
              <a:gdLst>
                <a:gd name="T0" fmla="*/ 8 w 109"/>
                <a:gd name="T1" fmla="*/ 178 h 178"/>
                <a:gd name="T2" fmla="*/ 10 w 109"/>
                <a:gd name="T3" fmla="*/ 120 h 178"/>
                <a:gd name="T4" fmla="*/ 10 w 109"/>
                <a:gd name="T5" fmla="*/ 79 h 178"/>
                <a:gd name="T6" fmla="*/ 0 w 109"/>
                <a:gd name="T7" fmla="*/ 8 h 178"/>
                <a:gd name="T8" fmla="*/ 45 w 109"/>
                <a:gd name="T9" fmla="*/ 4 h 178"/>
                <a:gd name="T10" fmla="*/ 50 w 109"/>
                <a:gd name="T11" fmla="*/ 30 h 178"/>
                <a:gd name="T12" fmla="*/ 51 w 109"/>
                <a:gd name="T13" fmla="*/ 30 h 178"/>
                <a:gd name="T14" fmla="*/ 99 w 109"/>
                <a:gd name="T15" fmla="*/ 0 h 178"/>
                <a:gd name="T16" fmla="*/ 107 w 109"/>
                <a:gd name="T17" fmla="*/ 0 h 178"/>
                <a:gd name="T18" fmla="*/ 109 w 109"/>
                <a:gd name="T19" fmla="*/ 39 h 178"/>
                <a:gd name="T20" fmla="*/ 94 w 109"/>
                <a:gd name="T21" fmla="*/ 37 h 178"/>
                <a:gd name="T22" fmla="*/ 56 w 109"/>
                <a:gd name="T23" fmla="*/ 99 h 178"/>
                <a:gd name="T24" fmla="*/ 56 w 109"/>
                <a:gd name="T25" fmla="*/ 120 h 178"/>
                <a:gd name="T26" fmla="*/ 58 w 109"/>
                <a:gd name="T27" fmla="*/ 178 h 178"/>
                <a:gd name="T28" fmla="*/ 8 w 109"/>
                <a:gd name="T29" fmla="*/ 178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9" h="178">
                  <a:moveTo>
                    <a:pt x="8" y="178"/>
                  </a:moveTo>
                  <a:cubicBezTo>
                    <a:pt x="9" y="159"/>
                    <a:pt x="10" y="140"/>
                    <a:pt x="10" y="120"/>
                  </a:cubicBezTo>
                  <a:cubicBezTo>
                    <a:pt x="10" y="79"/>
                    <a:pt x="10" y="79"/>
                    <a:pt x="10" y="79"/>
                  </a:cubicBezTo>
                  <a:cubicBezTo>
                    <a:pt x="10" y="54"/>
                    <a:pt x="5" y="32"/>
                    <a:pt x="0" y="8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7" y="12"/>
                    <a:pt x="49" y="21"/>
                    <a:pt x="50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8" y="14"/>
                    <a:pt x="80" y="0"/>
                    <a:pt x="99" y="0"/>
                  </a:cubicBezTo>
                  <a:cubicBezTo>
                    <a:pt x="102" y="0"/>
                    <a:pt x="104" y="0"/>
                    <a:pt x="107" y="0"/>
                  </a:cubicBezTo>
                  <a:cubicBezTo>
                    <a:pt x="109" y="39"/>
                    <a:pt x="109" y="39"/>
                    <a:pt x="109" y="39"/>
                  </a:cubicBezTo>
                  <a:cubicBezTo>
                    <a:pt x="103" y="38"/>
                    <a:pt x="99" y="37"/>
                    <a:pt x="94" y="37"/>
                  </a:cubicBezTo>
                  <a:cubicBezTo>
                    <a:pt x="56" y="37"/>
                    <a:pt x="56" y="63"/>
                    <a:pt x="56" y="99"/>
                  </a:cubicBezTo>
                  <a:cubicBezTo>
                    <a:pt x="56" y="120"/>
                    <a:pt x="56" y="120"/>
                    <a:pt x="56" y="120"/>
                  </a:cubicBezTo>
                  <a:cubicBezTo>
                    <a:pt x="56" y="134"/>
                    <a:pt x="57" y="159"/>
                    <a:pt x="58" y="178"/>
                  </a:cubicBezTo>
                  <a:lnTo>
                    <a:pt x="8" y="1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7" name="Freeform 15"/>
            <p:cNvSpPr>
              <a:spLocks noEditPoints="1"/>
            </p:cNvSpPr>
            <p:nvPr/>
          </p:nvSpPr>
          <p:spPr bwMode="black">
            <a:xfrm>
              <a:off x="5607050" y="2757488"/>
              <a:ext cx="600075" cy="893763"/>
            </a:xfrm>
            <a:custGeom>
              <a:avLst/>
              <a:gdLst>
                <a:gd name="T0" fmla="*/ 5 w 176"/>
                <a:gd name="T1" fmla="*/ 262 h 262"/>
                <a:gd name="T2" fmla="*/ 6 w 176"/>
                <a:gd name="T3" fmla="*/ 191 h 262"/>
                <a:gd name="T4" fmla="*/ 6 w 176"/>
                <a:gd name="T5" fmla="*/ 97 h 262"/>
                <a:gd name="T6" fmla="*/ 0 w 176"/>
                <a:gd name="T7" fmla="*/ 3 h 262"/>
                <a:gd name="T8" fmla="*/ 54 w 176"/>
                <a:gd name="T9" fmla="*/ 0 h 262"/>
                <a:gd name="T10" fmla="*/ 52 w 176"/>
                <a:gd name="T11" fmla="*/ 64 h 262"/>
                <a:gd name="T12" fmla="*/ 52 w 176"/>
                <a:gd name="T13" fmla="*/ 191 h 262"/>
                <a:gd name="T14" fmla="*/ 54 w 176"/>
                <a:gd name="T15" fmla="*/ 262 h 262"/>
                <a:gd name="T16" fmla="*/ 5 w 176"/>
                <a:gd name="T17" fmla="*/ 262 h 262"/>
                <a:gd name="T18" fmla="*/ 54 w 176"/>
                <a:gd name="T19" fmla="*/ 171 h 262"/>
                <a:gd name="T20" fmla="*/ 106 w 176"/>
                <a:gd name="T21" fmla="*/ 92 h 262"/>
                <a:gd name="T22" fmla="*/ 161 w 176"/>
                <a:gd name="T23" fmla="*/ 88 h 262"/>
                <a:gd name="T24" fmla="*/ 118 w 176"/>
                <a:gd name="T25" fmla="*/ 143 h 262"/>
                <a:gd name="T26" fmla="*/ 101 w 176"/>
                <a:gd name="T27" fmla="*/ 168 h 262"/>
                <a:gd name="T28" fmla="*/ 127 w 176"/>
                <a:gd name="T29" fmla="*/ 201 h 262"/>
                <a:gd name="T30" fmla="*/ 176 w 176"/>
                <a:gd name="T31" fmla="*/ 262 h 262"/>
                <a:gd name="T32" fmla="*/ 118 w 176"/>
                <a:gd name="T33" fmla="*/ 262 h 262"/>
                <a:gd name="T34" fmla="*/ 54 w 176"/>
                <a:gd name="T35" fmla="*/ 171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6" h="262">
                  <a:moveTo>
                    <a:pt x="5" y="262"/>
                  </a:moveTo>
                  <a:cubicBezTo>
                    <a:pt x="5" y="238"/>
                    <a:pt x="6" y="218"/>
                    <a:pt x="6" y="191"/>
                  </a:cubicBezTo>
                  <a:cubicBezTo>
                    <a:pt x="6" y="97"/>
                    <a:pt x="6" y="97"/>
                    <a:pt x="6" y="97"/>
                  </a:cubicBezTo>
                  <a:cubicBezTo>
                    <a:pt x="6" y="82"/>
                    <a:pt x="6" y="42"/>
                    <a:pt x="0" y="3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4" y="27"/>
                    <a:pt x="52" y="46"/>
                    <a:pt x="52" y="64"/>
                  </a:cubicBezTo>
                  <a:cubicBezTo>
                    <a:pt x="52" y="191"/>
                    <a:pt x="52" y="191"/>
                    <a:pt x="52" y="191"/>
                  </a:cubicBezTo>
                  <a:cubicBezTo>
                    <a:pt x="52" y="215"/>
                    <a:pt x="52" y="238"/>
                    <a:pt x="54" y="262"/>
                  </a:cubicBezTo>
                  <a:lnTo>
                    <a:pt x="5" y="262"/>
                  </a:lnTo>
                  <a:close/>
                  <a:moveTo>
                    <a:pt x="54" y="171"/>
                  </a:moveTo>
                  <a:cubicBezTo>
                    <a:pt x="106" y="92"/>
                    <a:pt x="106" y="92"/>
                    <a:pt x="106" y="92"/>
                  </a:cubicBezTo>
                  <a:cubicBezTo>
                    <a:pt x="161" y="88"/>
                    <a:pt x="161" y="88"/>
                    <a:pt x="161" y="88"/>
                  </a:cubicBezTo>
                  <a:cubicBezTo>
                    <a:pt x="146" y="107"/>
                    <a:pt x="131" y="125"/>
                    <a:pt x="118" y="143"/>
                  </a:cubicBezTo>
                  <a:cubicBezTo>
                    <a:pt x="101" y="168"/>
                    <a:pt x="101" y="168"/>
                    <a:pt x="101" y="168"/>
                  </a:cubicBezTo>
                  <a:cubicBezTo>
                    <a:pt x="127" y="201"/>
                    <a:pt x="127" y="201"/>
                    <a:pt x="127" y="201"/>
                  </a:cubicBezTo>
                  <a:cubicBezTo>
                    <a:pt x="144" y="225"/>
                    <a:pt x="162" y="247"/>
                    <a:pt x="176" y="262"/>
                  </a:cubicBezTo>
                  <a:cubicBezTo>
                    <a:pt x="118" y="262"/>
                    <a:pt x="118" y="262"/>
                    <a:pt x="118" y="262"/>
                  </a:cubicBezTo>
                  <a:lnTo>
                    <a:pt x="54" y="1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8" name="Freeform 16"/>
            <p:cNvSpPr>
              <a:spLocks noEditPoints="1"/>
            </p:cNvSpPr>
            <p:nvPr/>
          </p:nvSpPr>
          <p:spPr bwMode="black">
            <a:xfrm>
              <a:off x="6192838" y="3044826"/>
              <a:ext cx="566738" cy="627063"/>
            </a:xfrm>
            <a:custGeom>
              <a:avLst/>
              <a:gdLst>
                <a:gd name="T0" fmla="*/ 150 w 166"/>
                <a:gd name="T1" fmla="*/ 179 h 184"/>
                <a:gd name="T2" fmla="*/ 105 w 166"/>
                <a:gd name="T3" fmla="*/ 184 h 184"/>
                <a:gd name="T4" fmla="*/ 0 w 166"/>
                <a:gd name="T5" fmla="*/ 81 h 184"/>
                <a:gd name="T6" fmla="*/ 84 w 166"/>
                <a:gd name="T7" fmla="*/ 0 h 184"/>
                <a:gd name="T8" fmla="*/ 166 w 166"/>
                <a:gd name="T9" fmla="*/ 89 h 184"/>
                <a:gd name="T10" fmla="*/ 166 w 166"/>
                <a:gd name="T11" fmla="*/ 100 h 184"/>
                <a:gd name="T12" fmla="*/ 46 w 166"/>
                <a:gd name="T13" fmla="*/ 100 h 184"/>
                <a:gd name="T14" fmla="*/ 111 w 166"/>
                <a:gd name="T15" fmla="*/ 147 h 184"/>
                <a:gd name="T16" fmla="*/ 150 w 166"/>
                <a:gd name="T17" fmla="*/ 141 h 184"/>
                <a:gd name="T18" fmla="*/ 150 w 166"/>
                <a:gd name="T19" fmla="*/ 179 h 184"/>
                <a:gd name="T20" fmla="*/ 120 w 166"/>
                <a:gd name="T21" fmla="*/ 71 h 184"/>
                <a:gd name="T22" fmla="*/ 85 w 166"/>
                <a:gd name="T23" fmla="*/ 37 h 184"/>
                <a:gd name="T24" fmla="*/ 46 w 166"/>
                <a:gd name="T25" fmla="*/ 71 h 184"/>
                <a:gd name="T26" fmla="*/ 120 w 166"/>
                <a:gd name="T27" fmla="*/ 71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6" h="184">
                  <a:moveTo>
                    <a:pt x="150" y="179"/>
                  </a:moveTo>
                  <a:cubicBezTo>
                    <a:pt x="135" y="182"/>
                    <a:pt x="120" y="184"/>
                    <a:pt x="105" y="184"/>
                  </a:cubicBezTo>
                  <a:cubicBezTo>
                    <a:pt x="39" y="184"/>
                    <a:pt x="0" y="140"/>
                    <a:pt x="0" y="81"/>
                  </a:cubicBezTo>
                  <a:cubicBezTo>
                    <a:pt x="0" y="33"/>
                    <a:pt x="35" y="0"/>
                    <a:pt x="84" y="0"/>
                  </a:cubicBezTo>
                  <a:cubicBezTo>
                    <a:pt x="148" y="0"/>
                    <a:pt x="166" y="49"/>
                    <a:pt x="166" y="89"/>
                  </a:cubicBezTo>
                  <a:cubicBezTo>
                    <a:pt x="166" y="92"/>
                    <a:pt x="166" y="96"/>
                    <a:pt x="166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7" y="116"/>
                    <a:pt x="59" y="147"/>
                    <a:pt x="111" y="147"/>
                  </a:cubicBezTo>
                  <a:cubicBezTo>
                    <a:pt x="124" y="147"/>
                    <a:pt x="137" y="144"/>
                    <a:pt x="150" y="141"/>
                  </a:cubicBezTo>
                  <a:lnTo>
                    <a:pt x="150" y="179"/>
                  </a:lnTo>
                  <a:close/>
                  <a:moveTo>
                    <a:pt x="120" y="71"/>
                  </a:moveTo>
                  <a:cubicBezTo>
                    <a:pt x="120" y="57"/>
                    <a:pt x="108" y="37"/>
                    <a:pt x="85" y="37"/>
                  </a:cubicBezTo>
                  <a:cubicBezTo>
                    <a:pt x="58" y="37"/>
                    <a:pt x="47" y="58"/>
                    <a:pt x="46" y="71"/>
                  </a:cubicBezTo>
                  <a:lnTo>
                    <a:pt x="12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9" name="Freeform 17"/>
            <p:cNvSpPr>
              <a:spLocks/>
            </p:cNvSpPr>
            <p:nvPr/>
          </p:nvSpPr>
          <p:spPr bwMode="black">
            <a:xfrm>
              <a:off x="6783388" y="2890838"/>
              <a:ext cx="392113" cy="781050"/>
            </a:xfrm>
            <a:custGeom>
              <a:avLst/>
              <a:gdLst>
                <a:gd name="T0" fmla="*/ 112 w 115"/>
                <a:gd name="T1" fmla="*/ 227 h 229"/>
                <a:gd name="T2" fmla="*/ 92 w 115"/>
                <a:gd name="T3" fmla="*/ 229 h 229"/>
                <a:gd name="T4" fmla="*/ 33 w 115"/>
                <a:gd name="T5" fmla="*/ 168 h 229"/>
                <a:gd name="T6" fmla="*/ 33 w 115"/>
                <a:gd name="T7" fmla="*/ 83 h 229"/>
                <a:gd name="T8" fmla="*/ 0 w 115"/>
                <a:gd name="T9" fmla="*/ 85 h 229"/>
                <a:gd name="T10" fmla="*/ 2 w 115"/>
                <a:gd name="T11" fmla="*/ 51 h 229"/>
                <a:gd name="T12" fmla="*/ 33 w 115"/>
                <a:gd name="T13" fmla="*/ 51 h 229"/>
                <a:gd name="T14" fmla="*/ 33 w 115"/>
                <a:gd name="T15" fmla="*/ 17 h 229"/>
                <a:gd name="T16" fmla="*/ 82 w 115"/>
                <a:gd name="T17" fmla="*/ 0 h 229"/>
                <a:gd name="T18" fmla="*/ 79 w 115"/>
                <a:gd name="T19" fmla="*/ 45 h 229"/>
                <a:gd name="T20" fmla="*/ 79 w 115"/>
                <a:gd name="T21" fmla="*/ 51 h 229"/>
                <a:gd name="T22" fmla="*/ 115 w 115"/>
                <a:gd name="T23" fmla="*/ 49 h 229"/>
                <a:gd name="T24" fmla="*/ 113 w 115"/>
                <a:gd name="T25" fmla="*/ 83 h 229"/>
                <a:gd name="T26" fmla="*/ 79 w 115"/>
                <a:gd name="T27" fmla="*/ 83 h 229"/>
                <a:gd name="T28" fmla="*/ 79 w 115"/>
                <a:gd name="T29" fmla="*/ 152 h 229"/>
                <a:gd name="T30" fmla="*/ 104 w 115"/>
                <a:gd name="T31" fmla="*/ 192 h 229"/>
                <a:gd name="T32" fmla="*/ 115 w 115"/>
                <a:gd name="T33" fmla="*/ 191 h 229"/>
                <a:gd name="T34" fmla="*/ 112 w 115"/>
                <a:gd name="T35" fmla="*/ 22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5" h="229">
                  <a:moveTo>
                    <a:pt x="112" y="227"/>
                  </a:moveTo>
                  <a:cubicBezTo>
                    <a:pt x="105" y="228"/>
                    <a:pt x="99" y="229"/>
                    <a:pt x="92" y="229"/>
                  </a:cubicBezTo>
                  <a:cubicBezTo>
                    <a:pt x="69" y="229"/>
                    <a:pt x="33" y="221"/>
                    <a:pt x="33" y="168"/>
                  </a:cubicBezTo>
                  <a:cubicBezTo>
                    <a:pt x="33" y="83"/>
                    <a:pt x="33" y="83"/>
                    <a:pt x="33" y="83"/>
                  </a:cubicBezTo>
                  <a:cubicBezTo>
                    <a:pt x="25" y="83"/>
                    <a:pt x="13" y="84"/>
                    <a:pt x="0" y="85"/>
                  </a:cubicBezTo>
                  <a:cubicBezTo>
                    <a:pt x="2" y="51"/>
                    <a:pt x="2" y="51"/>
                    <a:pt x="2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0" y="15"/>
                    <a:pt x="79" y="38"/>
                    <a:pt x="79" y="45"/>
                  </a:cubicBezTo>
                  <a:cubicBezTo>
                    <a:pt x="79" y="51"/>
                    <a:pt x="79" y="51"/>
                    <a:pt x="79" y="51"/>
                  </a:cubicBezTo>
                  <a:cubicBezTo>
                    <a:pt x="88" y="51"/>
                    <a:pt x="100" y="51"/>
                    <a:pt x="115" y="49"/>
                  </a:cubicBezTo>
                  <a:cubicBezTo>
                    <a:pt x="113" y="83"/>
                    <a:pt x="113" y="83"/>
                    <a:pt x="113" y="83"/>
                  </a:cubicBezTo>
                  <a:cubicBezTo>
                    <a:pt x="79" y="83"/>
                    <a:pt x="79" y="83"/>
                    <a:pt x="79" y="83"/>
                  </a:cubicBezTo>
                  <a:cubicBezTo>
                    <a:pt x="79" y="152"/>
                    <a:pt x="79" y="152"/>
                    <a:pt x="79" y="152"/>
                  </a:cubicBezTo>
                  <a:cubicBezTo>
                    <a:pt x="79" y="176"/>
                    <a:pt x="79" y="192"/>
                    <a:pt x="104" y="192"/>
                  </a:cubicBezTo>
                  <a:cubicBezTo>
                    <a:pt x="107" y="192"/>
                    <a:pt x="111" y="191"/>
                    <a:pt x="115" y="191"/>
                  </a:cubicBezTo>
                  <a:lnTo>
                    <a:pt x="112" y="2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0" name="Freeform 18"/>
            <p:cNvSpPr>
              <a:spLocks noEditPoints="1"/>
            </p:cNvSpPr>
            <p:nvPr/>
          </p:nvSpPr>
          <p:spPr bwMode="black">
            <a:xfrm>
              <a:off x="7277100" y="2757488"/>
              <a:ext cx="187325" cy="893763"/>
            </a:xfrm>
            <a:custGeom>
              <a:avLst/>
              <a:gdLst>
                <a:gd name="T0" fmla="*/ 2 w 55"/>
                <a:gd name="T1" fmla="*/ 31 h 262"/>
                <a:gd name="T2" fmla="*/ 0 w 55"/>
                <a:gd name="T3" fmla="*/ 4 h 262"/>
                <a:gd name="T4" fmla="*/ 53 w 55"/>
                <a:gd name="T5" fmla="*/ 0 h 262"/>
                <a:gd name="T6" fmla="*/ 51 w 55"/>
                <a:gd name="T7" fmla="*/ 31 h 262"/>
                <a:gd name="T8" fmla="*/ 51 w 55"/>
                <a:gd name="T9" fmla="*/ 51 h 262"/>
                <a:gd name="T10" fmla="*/ 2 w 55"/>
                <a:gd name="T11" fmla="*/ 54 h 262"/>
                <a:gd name="T12" fmla="*/ 2 w 55"/>
                <a:gd name="T13" fmla="*/ 31 h 262"/>
                <a:gd name="T14" fmla="*/ 6 w 55"/>
                <a:gd name="T15" fmla="*/ 262 h 262"/>
                <a:gd name="T16" fmla="*/ 7 w 55"/>
                <a:gd name="T17" fmla="*/ 204 h 262"/>
                <a:gd name="T18" fmla="*/ 7 w 55"/>
                <a:gd name="T19" fmla="*/ 163 h 262"/>
                <a:gd name="T20" fmla="*/ 2 w 55"/>
                <a:gd name="T21" fmla="*/ 92 h 262"/>
                <a:gd name="T22" fmla="*/ 55 w 55"/>
                <a:gd name="T23" fmla="*/ 88 h 262"/>
                <a:gd name="T24" fmla="*/ 53 w 55"/>
                <a:gd name="T25" fmla="*/ 142 h 262"/>
                <a:gd name="T26" fmla="*/ 53 w 55"/>
                <a:gd name="T27" fmla="*/ 204 h 262"/>
                <a:gd name="T28" fmla="*/ 55 w 55"/>
                <a:gd name="T29" fmla="*/ 262 h 262"/>
                <a:gd name="T30" fmla="*/ 6 w 55"/>
                <a:gd name="T31" fmla="*/ 262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5" h="262">
                  <a:moveTo>
                    <a:pt x="2" y="31"/>
                  </a:moveTo>
                  <a:cubicBezTo>
                    <a:pt x="2" y="22"/>
                    <a:pt x="1" y="14"/>
                    <a:pt x="0" y="4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2" y="11"/>
                    <a:pt x="51" y="21"/>
                    <a:pt x="51" y="31"/>
                  </a:cubicBezTo>
                  <a:cubicBezTo>
                    <a:pt x="51" y="51"/>
                    <a:pt x="51" y="51"/>
                    <a:pt x="51" y="51"/>
                  </a:cubicBezTo>
                  <a:cubicBezTo>
                    <a:pt x="2" y="54"/>
                    <a:pt x="2" y="54"/>
                    <a:pt x="2" y="54"/>
                  </a:cubicBezTo>
                  <a:lnTo>
                    <a:pt x="2" y="31"/>
                  </a:lnTo>
                  <a:close/>
                  <a:moveTo>
                    <a:pt x="6" y="262"/>
                  </a:moveTo>
                  <a:cubicBezTo>
                    <a:pt x="6" y="243"/>
                    <a:pt x="7" y="224"/>
                    <a:pt x="7" y="204"/>
                  </a:cubicBezTo>
                  <a:cubicBezTo>
                    <a:pt x="7" y="163"/>
                    <a:pt x="7" y="163"/>
                    <a:pt x="7" y="163"/>
                  </a:cubicBezTo>
                  <a:cubicBezTo>
                    <a:pt x="7" y="138"/>
                    <a:pt x="5" y="116"/>
                    <a:pt x="2" y="92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3" y="114"/>
                    <a:pt x="53" y="124"/>
                    <a:pt x="53" y="142"/>
                  </a:cubicBezTo>
                  <a:cubicBezTo>
                    <a:pt x="53" y="204"/>
                    <a:pt x="53" y="204"/>
                    <a:pt x="53" y="204"/>
                  </a:cubicBezTo>
                  <a:cubicBezTo>
                    <a:pt x="53" y="224"/>
                    <a:pt x="54" y="243"/>
                    <a:pt x="55" y="262"/>
                  </a:cubicBezTo>
                  <a:lnTo>
                    <a:pt x="6" y="2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1" name="Freeform 19"/>
            <p:cNvSpPr>
              <a:spLocks/>
            </p:cNvSpPr>
            <p:nvPr/>
          </p:nvSpPr>
          <p:spPr bwMode="black">
            <a:xfrm>
              <a:off x="7567613" y="3044826"/>
              <a:ext cx="582613" cy="606425"/>
            </a:xfrm>
            <a:custGeom>
              <a:avLst/>
              <a:gdLst>
                <a:gd name="T0" fmla="*/ 8 w 171"/>
                <a:gd name="T1" fmla="*/ 178 h 178"/>
                <a:gd name="T2" fmla="*/ 10 w 171"/>
                <a:gd name="T3" fmla="*/ 120 h 178"/>
                <a:gd name="T4" fmla="*/ 10 w 171"/>
                <a:gd name="T5" fmla="*/ 79 h 178"/>
                <a:gd name="T6" fmla="*/ 0 w 171"/>
                <a:gd name="T7" fmla="*/ 8 h 178"/>
                <a:gd name="T8" fmla="*/ 43 w 171"/>
                <a:gd name="T9" fmla="*/ 4 h 178"/>
                <a:gd name="T10" fmla="*/ 49 w 171"/>
                <a:gd name="T11" fmla="*/ 29 h 178"/>
                <a:gd name="T12" fmla="*/ 110 w 171"/>
                <a:gd name="T13" fmla="*/ 0 h 178"/>
                <a:gd name="T14" fmla="*/ 167 w 171"/>
                <a:gd name="T15" fmla="*/ 80 h 178"/>
                <a:gd name="T16" fmla="*/ 167 w 171"/>
                <a:gd name="T17" fmla="*/ 120 h 178"/>
                <a:gd name="T18" fmla="*/ 171 w 171"/>
                <a:gd name="T19" fmla="*/ 178 h 178"/>
                <a:gd name="T20" fmla="*/ 123 w 171"/>
                <a:gd name="T21" fmla="*/ 178 h 178"/>
                <a:gd name="T22" fmla="*/ 121 w 171"/>
                <a:gd name="T23" fmla="*/ 120 h 178"/>
                <a:gd name="T24" fmla="*/ 121 w 171"/>
                <a:gd name="T25" fmla="*/ 87 h 178"/>
                <a:gd name="T26" fmla="*/ 92 w 171"/>
                <a:gd name="T27" fmla="*/ 37 h 178"/>
                <a:gd name="T28" fmla="*/ 56 w 171"/>
                <a:gd name="T29" fmla="*/ 99 h 178"/>
                <a:gd name="T30" fmla="*/ 56 w 171"/>
                <a:gd name="T31" fmla="*/ 120 h 178"/>
                <a:gd name="T32" fmla="*/ 57 w 171"/>
                <a:gd name="T33" fmla="*/ 178 h 178"/>
                <a:gd name="T34" fmla="*/ 8 w 171"/>
                <a:gd name="T35" fmla="*/ 178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1" h="178">
                  <a:moveTo>
                    <a:pt x="8" y="178"/>
                  </a:moveTo>
                  <a:cubicBezTo>
                    <a:pt x="9" y="159"/>
                    <a:pt x="10" y="140"/>
                    <a:pt x="10" y="120"/>
                  </a:cubicBezTo>
                  <a:cubicBezTo>
                    <a:pt x="10" y="79"/>
                    <a:pt x="10" y="79"/>
                    <a:pt x="10" y="79"/>
                  </a:cubicBezTo>
                  <a:cubicBezTo>
                    <a:pt x="10" y="54"/>
                    <a:pt x="5" y="32"/>
                    <a:pt x="0" y="8"/>
                  </a:cubicBezTo>
                  <a:cubicBezTo>
                    <a:pt x="43" y="4"/>
                    <a:pt x="43" y="4"/>
                    <a:pt x="43" y="4"/>
                  </a:cubicBezTo>
                  <a:cubicBezTo>
                    <a:pt x="46" y="12"/>
                    <a:pt x="47" y="20"/>
                    <a:pt x="49" y="29"/>
                  </a:cubicBezTo>
                  <a:cubicBezTo>
                    <a:pt x="61" y="17"/>
                    <a:pt x="76" y="0"/>
                    <a:pt x="110" y="0"/>
                  </a:cubicBezTo>
                  <a:cubicBezTo>
                    <a:pt x="152" y="0"/>
                    <a:pt x="167" y="32"/>
                    <a:pt x="167" y="80"/>
                  </a:cubicBezTo>
                  <a:cubicBezTo>
                    <a:pt x="167" y="120"/>
                    <a:pt x="167" y="120"/>
                    <a:pt x="167" y="120"/>
                  </a:cubicBezTo>
                  <a:cubicBezTo>
                    <a:pt x="167" y="134"/>
                    <a:pt x="168" y="160"/>
                    <a:pt x="171" y="178"/>
                  </a:cubicBezTo>
                  <a:cubicBezTo>
                    <a:pt x="123" y="178"/>
                    <a:pt x="123" y="178"/>
                    <a:pt x="123" y="178"/>
                  </a:cubicBezTo>
                  <a:cubicBezTo>
                    <a:pt x="122" y="159"/>
                    <a:pt x="121" y="140"/>
                    <a:pt x="121" y="120"/>
                  </a:cubicBezTo>
                  <a:cubicBezTo>
                    <a:pt x="121" y="87"/>
                    <a:pt x="121" y="87"/>
                    <a:pt x="121" y="87"/>
                  </a:cubicBezTo>
                  <a:cubicBezTo>
                    <a:pt x="121" y="57"/>
                    <a:pt x="115" y="37"/>
                    <a:pt x="92" y="37"/>
                  </a:cubicBezTo>
                  <a:cubicBezTo>
                    <a:pt x="63" y="37"/>
                    <a:pt x="56" y="57"/>
                    <a:pt x="56" y="99"/>
                  </a:cubicBezTo>
                  <a:cubicBezTo>
                    <a:pt x="56" y="120"/>
                    <a:pt x="56" y="120"/>
                    <a:pt x="56" y="120"/>
                  </a:cubicBezTo>
                  <a:cubicBezTo>
                    <a:pt x="56" y="134"/>
                    <a:pt x="57" y="159"/>
                    <a:pt x="57" y="178"/>
                  </a:cubicBezTo>
                  <a:lnTo>
                    <a:pt x="8" y="1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2" name="Freeform 20"/>
            <p:cNvSpPr>
              <a:spLocks noEditPoints="1"/>
            </p:cNvSpPr>
            <p:nvPr/>
          </p:nvSpPr>
          <p:spPr bwMode="black">
            <a:xfrm>
              <a:off x="8251825" y="3044826"/>
              <a:ext cx="641350" cy="887413"/>
            </a:xfrm>
            <a:custGeom>
              <a:avLst/>
              <a:gdLst>
                <a:gd name="T0" fmla="*/ 188 w 188"/>
                <a:gd name="T1" fmla="*/ 3 h 260"/>
                <a:gd name="T2" fmla="*/ 181 w 188"/>
                <a:gd name="T3" fmla="*/ 88 h 260"/>
                <a:gd name="T4" fmla="*/ 183 w 188"/>
                <a:gd name="T5" fmla="*/ 165 h 260"/>
                <a:gd name="T6" fmla="*/ 74 w 188"/>
                <a:gd name="T7" fmla="*/ 260 h 260"/>
                <a:gd name="T8" fmla="*/ 20 w 188"/>
                <a:gd name="T9" fmla="*/ 255 h 260"/>
                <a:gd name="T10" fmla="*/ 18 w 188"/>
                <a:gd name="T11" fmla="*/ 216 h 260"/>
                <a:gd name="T12" fmla="*/ 73 w 188"/>
                <a:gd name="T13" fmla="*/ 222 h 260"/>
                <a:gd name="T14" fmla="*/ 139 w 188"/>
                <a:gd name="T15" fmla="*/ 165 h 260"/>
                <a:gd name="T16" fmla="*/ 139 w 188"/>
                <a:gd name="T17" fmla="*/ 152 h 260"/>
                <a:gd name="T18" fmla="*/ 138 w 188"/>
                <a:gd name="T19" fmla="*/ 152 h 260"/>
                <a:gd name="T20" fmla="*/ 81 w 188"/>
                <a:gd name="T21" fmla="*/ 184 h 260"/>
                <a:gd name="T22" fmla="*/ 0 w 188"/>
                <a:gd name="T23" fmla="*/ 88 h 260"/>
                <a:gd name="T24" fmla="*/ 83 w 188"/>
                <a:gd name="T25" fmla="*/ 0 h 260"/>
                <a:gd name="T26" fmla="*/ 142 w 188"/>
                <a:gd name="T27" fmla="*/ 28 h 260"/>
                <a:gd name="T28" fmla="*/ 146 w 188"/>
                <a:gd name="T29" fmla="*/ 6 h 260"/>
                <a:gd name="T30" fmla="*/ 188 w 188"/>
                <a:gd name="T31" fmla="*/ 3 h 260"/>
                <a:gd name="T32" fmla="*/ 92 w 188"/>
                <a:gd name="T33" fmla="*/ 147 h 260"/>
                <a:gd name="T34" fmla="*/ 137 w 188"/>
                <a:gd name="T35" fmla="*/ 88 h 260"/>
                <a:gd name="T36" fmla="*/ 92 w 188"/>
                <a:gd name="T37" fmla="*/ 37 h 260"/>
                <a:gd name="T38" fmla="*/ 46 w 188"/>
                <a:gd name="T39" fmla="*/ 88 h 260"/>
                <a:gd name="T40" fmla="*/ 92 w 188"/>
                <a:gd name="T41" fmla="*/ 147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88" h="260">
                  <a:moveTo>
                    <a:pt x="188" y="3"/>
                  </a:moveTo>
                  <a:cubicBezTo>
                    <a:pt x="185" y="28"/>
                    <a:pt x="181" y="70"/>
                    <a:pt x="181" y="88"/>
                  </a:cubicBezTo>
                  <a:cubicBezTo>
                    <a:pt x="181" y="102"/>
                    <a:pt x="183" y="139"/>
                    <a:pt x="183" y="165"/>
                  </a:cubicBezTo>
                  <a:cubicBezTo>
                    <a:pt x="183" y="233"/>
                    <a:pt x="150" y="260"/>
                    <a:pt x="74" y="260"/>
                  </a:cubicBezTo>
                  <a:cubicBezTo>
                    <a:pt x="56" y="260"/>
                    <a:pt x="38" y="257"/>
                    <a:pt x="20" y="255"/>
                  </a:cubicBezTo>
                  <a:cubicBezTo>
                    <a:pt x="18" y="216"/>
                    <a:pt x="18" y="216"/>
                    <a:pt x="18" y="216"/>
                  </a:cubicBezTo>
                  <a:cubicBezTo>
                    <a:pt x="37" y="219"/>
                    <a:pt x="55" y="222"/>
                    <a:pt x="73" y="222"/>
                  </a:cubicBezTo>
                  <a:cubicBezTo>
                    <a:pt x="133" y="222"/>
                    <a:pt x="139" y="200"/>
                    <a:pt x="139" y="165"/>
                  </a:cubicBezTo>
                  <a:cubicBezTo>
                    <a:pt x="139" y="152"/>
                    <a:pt x="139" y="152"/>
                    <a:pt x="139" y="152"/>
                  </a:cubicBezTo>
                  <a:cubicBezTo>
                    <a:pt x="138" y="152"/>
                    <a:pt x="138" y="152"/>
                    <a:pt x="138" y="152"/>
                  </a:cubicBezTo>
                  <a:cubicBezTo>
                    <a:pt x="131" y="165"/>
                    <a:pt x="119" y="184"/>
                    <a:pt x="81" y="184"/>
                  </a:cubicBezTo>
                  <a:cubicBezTo>
                    <a:pt x="32" y="184"/>
                    <a:pt x="0" y="145"/>
                    <a:pt x="0" y="88"/>
                  </a:cubicBezTo>
                  <a:cubicBezTo>
                    <a:pt x="0" y="36"/>
                    <a:pt x="32" y="0"/>
                    <a:pt x="83" y="0"/>
                  </a:cubicBezTo>
                  <a:cubicBezTo>
                    <a:pt x="118" y="0"/>
                    <a:pt x="133" y="19"/>
                    <a:pt x="142" y="28"/>
                  </a:cubicBezTo>
                  <a:cubicBezTo>
                    <a:pt x="143" y="20"/>
                    <a:pt x="144" y="14"/>
                    <a:pt x="146" y="6"/>
                  </a:cubicBezTo>
                  <a:lnTo>
                    <a:pt x="188" y="3"/>
                  </a:lnTo>
                  <a:close/>
                  <a:moveTo>
                    <a:pt x="92" y="147"/>
                  </a:moveTo>
                  <a:cubicBezTo>
                    <a:pt x="121" y="147"/>
                    <a:pt x="137" y="123"/>
                    <a:pt x="137" y="88"/>
                  </a:cubicBezTo>
                  <a:cubicBezTo>
                    <a:pt x="137" y="55"/>
                    <a:pt x="121" y="37"/>
                    <a:pt x="92" y="37"/>
                  </a:cubicBezTo>
                  <a:cubicBezTo>
                    <a:pt x="63" y="37"/>
                    <a:pt x="46" y="58"/>
                    <a:pt x="46" y="88"/>
                  </a:cubicBezTo>
                  <a:cubicBezTo>
                    <a:pt x="46" y="122"/>
                    <a:pt x="65" y="147"/>
                    <a:pt x="92" y="1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0790027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1960" y="857958"/>
            <a:ext cx="11527794" cy="61539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11960" y="331098"/>
            <a:ext cx="8956390" cy="590215"/>
          </a:xfrm>
        </p:spPr>
        <p:txBody>
          <a:bodyPr anchor="b"/>
          <a:lstStyle>
            <a:lvl1pPr marL="0" indent="0">
              <a:buNone/>
              <a:defRPr sz="25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99426" y="5620954"/>
            <a:ext cx="8956267" cy="424383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72"/>
              </a:spcBef>
              <a:defRPr sz="1300" cap="none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92606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taCafé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042308" y="1030289"/>
            <a:ext cx="184731" cy="341632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defRPr/>
            </a:pP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2355545" y="1104900"/>
            <a:ext cx="184731" cy="341632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defRPr/>
            </a:pPr>
            <a:endParaRPr lang="en-US" dirty="0"/>
          </a:p>
        </p:txBody>
      </p:sp>
      <p:pic>
        <p:nvPicPr>
          <p:cNvPr id="6" name="Picture 8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0846" y="6151564"/>
            <a:ext cx="1864541" cy="687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78824" y="6254751"/>
            <a:ext cx="975657" cy="525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44792" y="6253165"/>
            <a:ext cx="700526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1379887" y="6626226"/>
            <a:ext cx="1246555" cy="25241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876165" y="6569076"/>
            <a:ext cx="1430680" cy="252413"/>
          </a:xfr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35061" y="6569076"/>
            <a:ext cx="702642" cy="25241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29747A-1E23-413E-A83F-ADD501869C9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3436185"/>
      </p:ext>
    </p:extLst>
  </p:cSld>
  <p:clrMapOvr>
    <a:masterClrMapping/>
  </p:clrMapOvr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277032"/>
      </p:ext>
    </p:extLst>
  </p:cSld>
  <p:clrMapOvr>
    <a:masterClrMapping/>
  </p:clrMapOvr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634878" y="6529388"/>
            <a:ext cx="1606342" cy="252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13D101F-BC08-4C7A-818E-03B4EC046AB6}" type="slidenum">
              <a:rPr lang="en-US" altLang="zh-CN" smtClean="0"/>
              <a:pPr>
                <a:defRPr/>
              </a:pPr>
              <a:t>‹#›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4066205479"/>
      </p:ext>
    </p:extLst>
  </p:cSld>
  <p:clrMapOvr>
    <a:masterClrMapping/>
  </p:clrMapOvr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40762534"/>
      </p:ext>
    </p:extLst>
  </p:cSld>
  <p:clrMapOvr>
    <a:masterClrMapping/>
  </p:clrMapOvr>
  <p:hf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21" y="274639"/>
            <a:ext cx="10971372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E18967-6CD5-433B-B4BD-7B3B5B7D1C25}" type="datetimeFigureOut">
              <a:rPr lang="en-US" smtClean="0"/>
              <a:pPr/>
              <a:t>2/11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84DB8B-6E0E-4FC5-B378-51041AF1216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Rectangle 6"/>
          <p:cNvSpPr txBox="1">
            <a:spLocks noChangeArrowheads="1"/>
          </p:cNvSpPr>
          <p:nvPr/>
        </p:nvSpPr>
        <p:spPr>
          <a:xfrm>
            <a:off x="5384101" y="6553202"/>
            <a:ext cx="1606342" cy="252413"/>
          </a:xfrm>
          <a:prstGeom prst="rect">
            <a:avLst/>
          </a:prstGeom>
        </p:spPr>
        <p:txBody>
          <a:bodyPr vert="horz" wrap="square" lIns="91428" tIns="45714" rIns="91428" bIns="45714" numCol="1" anchor="ctr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marL="0" marR="0" lvl="0" indent="0" algn="ctr" defTabSz="45715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423416534"/>
      </p:ext>
    </p:extLst>
  </p:cSld>
  <p:clrMapOvr>
    <a:masterClrMapping/>
  </p:clrMapOvr>
  <p:hf hd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40841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1961" y="270729"/>
            <a:ext cx="11527794" cy="498598"/>
          </a:xfrm>
          <a:prstGeom prst="rect">
            <a:avLst/>
          </a:prstGeom>
        </p:spPr>
        <p:txBody>
          <a:bodyPr/>
          <a:lstStyle>
            <a:lvl1pPr>
              <a:defRPr sz="3600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99428" y="5620956"/>
            <a:ext cx="8956267" cy="42438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72"/>
              </a:spcBef>
              <a:defRPr sz="1333" cap="none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27052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ECIA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1118254" y="97200"/>
            <a:ext cx="7439032" cy="612000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>
            <a:lvl1pPr algn="l">
              <a:lnSpc>
                <a:spcPct val="90000"/>
              </a:lnSpc>
              <a:defRPr sz="20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grpSp>
        <p:nvGrpSpPr>
          <p:cNvPr id="46" name="Group 4"/>
          <p:cNvGrpSpPr>
            <a:grpSpLocks noChangeAspect="1"/>
          </p:cNvGrpSpPr>
          <p:nvPr userDrawn="1"/>
        </p:nvGrpSpPr>
        <p:grpSpPr bwMode="gray">
          <a:xfrm>
            <a:off x="201574" y="151200"/>
            <a:ext cx="582858" cy="468000"/>
            <a:chOff x="1352" y="681"/>
            <a:chExt cx="3519" cy="3153"/>
          </a:xfrm>
        </p:grpSpPr>
        <p:sp>
          <p:nvSpPr>
            <p:cNvPr id="47" name="Freeform 5"/>
            <p:cNvSpPr>
              <a:spLocks noChangeAspect="1"/>
            </p:cNvSpPr>
            <p:nvPr/>
          </p:nvSpPr>
          <p:spPr bwMode="gray">
            <a:xfrm>
              <a:off x="1352" y="681"/>
              <a:ext cx="3519" cy="3153"/>
            </a:xfrm>
            <a:custGeom>
              <a:avLst/>
              <a:gdLst/>
              <a:ahLst/>
              <a:cxnLst>
                <a:cxn ang="0">
                  <a:pos x="0" y="3449"/>
                </a:cxn>
                <a:cxn ang="0">
                  <a:pos x="0" y="3449"/>
                </a:cxn>
                <a:cxn ang="0">
                  <a:pos x="0" y="0"/>
                </a:cxn>
                <a:cxn ang="0">
                  <a:pos x="3696" y="0"/>
                </a:cxn>
                <a:cxn ang="0">
                  <a:pos x="3327" y="3449"/>
                </a:cxn>
                <a:cxn ang="0">
                  <a:pos x="0" y="3449"/>
                </a:cxn>
              </a:cxnLst>
              <a:rect l="0" t="0" r="r" b="b"/>
              <a:pathLst>
                <a:path w="3862" h="3449">
                  <a:moveTo>
                    <a:pt x="0" y="3449"/>
                  </a:moveTo>
                  <a:lnTo>
                    <a:pt x="0" y="3449"/>
                  </a:lnTo>
                  <a:lnTo>
                    <a:pt x="0" y="0"/>
                  </a:lnTo>
                  <a:lnTo>
                    <a:pt x="3696" y="0"/>
                  </a:lnTo>
                  <a:cubicBezTo>
                    <a:pt x="3862" y="1150"/>
                    <a:pt x="3797" y="2241"/>
                    <a:pt x="3327" y="3449"/>
                  </a:cubicBezTo>
                  <a:lnTo>
                    <a:pt x="0" y="3449"/>
                  </a:lnTo>
                  <a:close/>
                </a:path>
              </a:pathLst>
            </a:custGeom>
            <a:solidFill>
              <a:srgbClr val="009D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" name="Freeform 6"/>
            <p:cNvSpPr>
              <a:spLocks noChangeAspect="1"/>
            </p:cNvSpPr>
            <p:nvPr/>
          </p:nvSpPr>
          <p:spPr bwMode="gray">
            <a:xfrm>
              <a:off x="2708" y="1843"/>
              <a:ext cx="75" cy="54"/>
            </a:xfrm>
            <a:custGeom>
              <a:avLst/>
              <a:gdLst/>
              <a:ahLst/>
              <a:cxnLst>
                <a:cxn ang="0">
                  <a:pos x="16" y="40"/>
                </a:cxn>
                <a:cxn ang="0">
                  <a:pos x="16" y="40"/>
                </a:cxn>
                <a:cxn ang="0">
                  <a:pos x="0" y="54"/>
                </a:cxn>
                <a:cxn ang="0">
                  <a:pos x="79" y="22"/>
                </a:cxn>
                <a:cxn ang="0">
                  <a:pos x="81" y="0"/>
                </a:cxn>
                <a:cxn ang="0">
                  <a:pos x="16" y="40"/>
                </a:cxn>
              </a:cxnLst>
              <a:rect l="0" t="0" r="r" b="b"/>
              <a:pathLst>
                <a:path w="81" h="66">
                  <a:moveTo>
                    <a:pt x="16" y="40"/>
                  </a:moveTo>
                  <a:lnTo>
                    <a:pt x="16" y="40"/>
                  </a:lnTo>
                  <a:lnTo>
                    <a:pt x="0" y="54"/>
                  </a:lnTo>
                  <a:cubicBezTo>
                    <a:pt x="35" y="66"/>
                    <a:pt x="72" y="42"/>
                    <a:pt x="79" y="22"/>
                  </a:cubicBezTo>
                  <a:lnTo>
                    <a:pt x="81" y="0"/>
                  </a:lnTo>
                  <a:cubicBezTo>
                    <a:pt x="54" y="6"/>
                    <a:pt x="27" y="19"/>
                    <a:pt x="16" y="40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" name="Freeform 7"/>
            <p:cNvSpPr>
              <a:spLocks noChangeAspect="1"/>
            </p:cNvSpPr>
            <p:nvPr/>
          </p:nvSpPr>
          <p:spPr bwMode="gray">
            <a:xfrm>
              <a:off x="2869" y="1972"/>
              <a:ext cx="65" cy="54"/>
            </a:xfrm>
            <a:custGeom>
              <a:avLst/>
              <a:gdLst/>
              <a:ahLst/>
              <a:cxnLst>
                <a:cxn ang="0">
                  <a:pos x="27" y="1"/>
                </a:cxn>
                <a:cxn ang="0">
                  <a:pos x="27" y="1"/>
                </a:cxn>
                <a:cxn ang="0">
                  <a:pos x="0" y="0"/>
                </a:cxn>
                <a:cxn ang="0">
                  <a:pos x="33" y="58"/>
                </a:cxn>
                <a:cxn ang="0">
                  <a:pos x="53" y="63"/>
                </a:cxn>
                <a:cxn ang="0">
                  <a:pos x="27" y="1"/>
                </a:cxn>
              </a:cxnLst>
              <a:rect l="0" t="0" r="r" b="b"/>
              <a:pathLst>
                <a:path w="81" h="63">
                  <a:moveTo>
                    <a:pt x="27" y="1"/>
                  </a:moveTo>
                  <a:lnTo>
                    <a:pt x="27" y="1"/>
                  </a:lnTo>
                  <a:lnTo>
                    <a:pt x="0" y="0"/>
                  </a:lnTo>
                  <a:cubicBezTo>
                    <a:pt x="0" y="24"/>
                    <a:pt x="8" y="43"/>
                    <a:pt x="33" y="58"/>
                  </a:cubicBezTo>
                  <a:lnTo>
                    <a:pt x="53" y="63"/>
                  </a:lnTo>
                  <a:cubicBezTo>
                    <a:pt x="81" y="39"/>
                    <a:pt x="44" y="15"/>
                    <a:pt x="27" y="1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0" name="Freeform 8"/>
            <p:cNvSpPr>
              <a:spLocks noChangeAspect="1"/>
            </p:cNvSpPr>
            <p:nvPr/>
          </p:nvSpPr>
          <p:spPr bwMode="gray">
            <a:xfrm>
              <a:off x="2622" y="1413"/>
              <a:ext cx="86" cy="75"/>
            </a:xfrm>
            <a:custGeom>
              <a:avLst/>
              <a:gdLst/>
              <a:ahLst/>
              <a:cxnLst>
                <a:cxn ang="0">
                  <a:pos x="20" y="50"/>
                </a:cxn>
                <a:cxn ang="0">
                  <a:pos x="20" y="50"/>
                </a:cxn>
                <a:cxn ang="0">
                  <a:pos x="0" y="64"/>
                </a:cxn>
                <a:cxn ang="0">
                  <a:pos x="89" y="27"/>
                </a:cxn>
                <a:cxn ang="0">
                  <a:pos x="96" y="0"/>
                </a:cxn>
                <a:cxn ang="0">
                  <a:pos x="20" y="50"/>
                </a:cxn>
              </a:cxnLst>
              <a:rect l="0" t="0" r="r" b="b"/>
              <a:pathLst>
                <a:path w="96" h="79">
                  <a:moveTo>
                    <a:pt x="20" y="50"/>
                  </a:moveTo>
                  <a:lnTo>
                    <a:pt x="20" y="50"/>
                  </a:lnTo>
                  <a:lnTo>
                    <a:pt x="0" y="64"/>
                  </a:lnTo>
                  <a:cubicBezTo>
                    <a:pt x="41" y="79"/>
                    <a:pt x="75" y="57"/>
                    <a:pt x="89" y="27"/>
                  </a:cubicBezTo>
                  <a:lnTo>
                    <a:pt x="96" y="0"/>
                  </a:lnTo>
                  <a:cubicBezTo>
                    <a:pt x="63" y="8"/>
                    <a:pt x="38" y="8"/>
                    <a:pt x="20" y="50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" name="Freeform 9"/>
            <p:cNvSpPr>
              <a:spLocks noChangeAspect="1"/>
            </p:cNvSpPr>
            <p:nvPr/>
          </p:nvSpPr>
          <p:spPr bwMode="gray">
            <a:xfrm>
              <a:off x="2568" y="1563"/>
              <a:ext cx="75" cy="76"/>
            </a:xfrm>
            <a:custGeom>
              <a:avLst/>
              <a:gdLst/>
              <a:ahLst/>
              <a:cxnLst>
                <a:cxn ang="0">
                  <a:pos x="77" y="22"/>
                </a:cxn>
                <a:cxn ang="0">
                  <a:pos x="77" y="22"/>
                </a:cxn>
                <a:cxn ang="0">
                  <a:pos x="71" y="0"/>
                </a:cxn>
                <a:cxn ang="0">
                  <a:pos x="0" y="44"/>
                </a:cxn>
                <a:cxn ang="0">
                  <a:pos x="0" y="62"/>
                </a:cxn>
                <a:cxn ang="0">
                  <a:pos x="77" y="22"/>
                </a:cxn>
              </a:cxnLst>
              <a:rect l="0" t="0" r="r" b="b"/>
              <a:pathLst>
                <a:path w="77" h="77">
                  <a:moveTo>
                    <a:pt x="77" y="22"/>
                  </a:moveTo>
                  <a:lnTo>
                    <a:pt x="77" y="22"/>
                  </a:lnTo>
                  <a:lnTo>
                    <a:pt x="71" y="0"/>
                  </a:lnTo>
                  <a:cubicBezTo>
                    <a:pt x="38" y="7"/>
                    <a:pt x="14" y="19"/>
                    <a:pt x="0" y="44"/>
                  </a:cubicBezTo>
                  <a:lnTo>
                    <a:pt x="0" y="62"/>
                  </a:lnTo>
                  <a:cubicBezTo>
                    <a:pt x="42" y="77"/>
                    <a:pt x="64" y="40"/>
                    <a:pt x="77" y="22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2" name="Freeform 10"/>
            <p:cNvSpPr>
              <a:spLocks noChangeAspect="1"/>
            </p:cNvSpPr>
            <p:nvPr/>
          </p:nvSpPr>
          <p:spPr bwMode="gray">
            <a:xfrm>
              <a:off x="2547" y="1725"/>
              <a:ext cx="86" cy="64"/>
            </a:xfrm>
            <a:custGeom>
              <a:avLst/>
              <a:gdLst/>
              <a:ahLst/>
              <a:cxnLst>
                <a:cxn ang="0">
                  <a:pos x="0" y="52"/>
                </a:cxn>
                <a:cxn ang="0">
                  <a:pos x="0" y="52"/>
                </a:cxn>
                <a:cxn ang="0">
                  <a:pos x="14" y="60"/>
                </a:cxn>
                <a:cxn ang="0">
                  <a:pos x="73" y="23"/>
                </a:cxn>
                <a:cxn ang="0">
                  <a:pos x="90" y="8"/>
                </a:cxn>
                <a:cxn ang="0">
                  <a:pos x="0" y="52"/>
                </a:cxn>
              </a:cxnLst>
              <a:rect l="0" t="0" r="r" b="b"/>
              <a:pathLst>
                <a:path w="90" h="74">
                  <a:moveTo>
                    <a:pt x="0" y="52"/>
                  </a:moveTo>
                  <a:lnTo>
                    <a:pt x="0" y="52"/>
                  </a:lnTo>
                  <a:lnTo>
                    <a:pt x="14" y="60"/>
                  </a:lnTo>
                  <a:cubicBezTo>
                    <a:pt x="59" y="74"/>
                    <a:pt x="62" y="38"/>
                    <a:pt x="73" y="23"/>
                  </a:cubicBezTo>
                  <a:lnTo>
                    <a:pt x="90" y="8"/>
                  </a:lnTo>
                  <a:cubicBezTo>
                    <a:pt x="48" y="0"/>
                    <a:pt x="11" y="31"/>
                    <a:pt x="0" y="52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3" name="Freeform 11"/>
            <p:cNvSpPr>
              <a:spLocks noChangeAspect="1"/>
            </p:cNvSpPr>
            <p:nvPr/>
          </p:nvSpPr>
          <p:spPr bwMode="gray">
            <a:xfrm>
              <a:off x="2773" y="1176"/>
              <a:ext cx="86" cy="75"/>
            </a:xfrm>
            <a:custGeom>
              <a:avLst/>
              <a:gdLst/>
              <a:ahLst/>
              <a:cxnLst>
                <a:cxn ang="0">
                  <a:pos x="16" y="4"/>
                </a:cxn>
                <a:cxn ang="0">
                  <a:pos x="16" y="4"/>
                </a:cxn>
                <a:cxn ang="0">
                  <a:pos x="0" y="12"/>
                </a:cxn>
                <a:cxn ang="0">
                  <a:pos x="86" y="49"/>
                </a:cxn>
                <a:cxn ang="0">
                  <a:pos x="88" y="22"/>
                </a:cxn>
                <a:cxn ang="0">
                  <a:pos x="16" y="4"/>
                </a:cxn>
              </a:cxnLst>
              <a:rect l="0" t="0" r="r" b="b"/>
              <a:pathLst>
                <a:path w="88" h="72">
                  <a:moveTo>
                    <a:pt x="16" y="4"/>
                  </a:moveTo>
                  <a:lnTo>
                    <a:pt x="16" y="4"/>
                  </a:lnTo>
                  <a:lnTo>
                    <a:pt x="0" y="12"/>
                  </a:lnTo>
                  <a:cubicBezTo>
                    <a:pt x="4" y="40"/>
                    <a:pt x="70" y="72"/>
                    <a:pt x="86" y="49"/>
                  </a:cubicBezTo>
                  <a:lnTo>
                    <a:pt x="88" y="22"/>
                  </a:lnTo>
                  <a:cubicBezTo>
                    <a:pt x="67" y="8"/>
                    <a:pt x="45" y="0"/>
                    <a:pt x="16" y="4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4" name="Freeform 12"/>
            <p:cNvSpPr>
              <a:spLocks noChangeAspect="1"/>
            </p:cNvSpPr>
            <p:nvPr/>
          </p:nvSpPr>
          <p:spPr bwMode="gray">
            <a:xfrm>
              <a:off x="2955" y="1111"/>
              <a:ext cx="76" cy="87"/>
            </a:xfrm>
            <a:custGeom>
              <a:avLst/>
              <a:gdLst/>
              <a:ahLst/>
              <a:cxnLst>
                <a:cxn ang="0">
                  <a:pos x="46" y="7"/>
                </a:cxn>
                <a:cxn ang="0">
                  <a:pos x="46" y="7"/>
                </a:cxn>
                <a:cxn ang="0">
                  <a:pos x="21" y="0"/>
                </a:cxn>
                <a:cxn ang="0">
                  <a:pos x="14" y="66"/>
                </a:cxn>
                <a:cxn ang="0">
                  <a:pos x="27" y="92"/>
                </a:cxn>
                <a:cxn ang="0">
                  <a:pos x="46" y="7"/>
                </a:cxn>
              </a:cxnLst>
              <a:rect l="0" t="0" r="r" b="b"/>
              <a:pathLst>
                <a:path w="86" h="92">
                  <a:moveTo>
                    <a:pt x="46" y="7"/>
                  </a:moveTo>
                  <a:lnTo>
                    <a:pt x="46" y="7"/>
                  </a:lnTo>
                  <a:lnTo>
                    <a:pt x="21" y="0"/>
                  </a:lnTo>
                  <a:cubicBezTo>
                    <a:pt x="7" y="19"/>
                    <a:pt x="0" y="33"/>
                    <a:pt x="14" y="66"/>
                  </a:cubicBezTo>
                  <a:lnTo>
                    <a:pt x="27" y="92"/>
                  </a:lnTo>
                  <a:cubicBezTo>
                    <a:pt x="57" y="63"/>
                    <a:pt x="86" y="36"/>
                    <a:pt x="46" y="7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5" name="Freeform 13"/>
            <p:cNvSpPr>
              <a:spLocks noChangeAspect="1" noEditPoints="1"/>
            </p:cNvSpPr>
            <p:nvPr/>
          </p:nvSpPr>
          <p:spPr bwMode="gray">
            <a:xfrm>
              <a:off x="3149" y="929"/>
              <a:ext cx="667" cy="1678"/>
            </a:xfrm>
            <a:custGeom>
              <a:avLst/>
              <a:gdLst/>
              <a:ahLst/>
              <a:cxnLst>
                <a:cxn ang="0">
                  <a:pos x="451" y="808"/>
                </a:cxn>
                <a:cxn ang="0">
                  <a:pos x="451" y="808"/>
                </a:cxn>
                <a:cxn ang="0">
                  <a:pos x="326" y="776"/>
                </a:cxn>
                <a:cxn ang="0">
                  <a:pos x="477" y="746"/>
                </a:cxn>
                <a:cxn ang="0">
                  <a:pos x="493" y="773"/>
                </a:cxn>
                <a:cxn ang="0">
                  <a:pos x="451" y="808"/>
                </a:cxn>
                <a:cxn ang="0">
                  <a:pos x="451" y="808"/>
                </a:cxn>
                <a:cxn ang="0">
                  <a:pos x="639" y="841"/>
                </a:cxn>
                <a:cxn ang="0">
                  <a:pos x="639" y="841"/>
                </a:cxn>
                <a:cxn ang="0">
                  <a:pos x="601" y="701"/>
                </a:cxn>
                <a:cxn ang="0">
                  <a:pos x="634" y="646"/>
                </a:cxn>
                <a:cxn ang="0">
                  <a:pos x="627" y="477"/>
                </a:cxn>
                <a:cxn ang="0">
                  <a:pos x="641" y="463"/>
                </a:cxn>
                <a:cxn ang="0">
                  <a:pos x="627" y="414"/>
                </a:cxn>
                <a:cxn ang="0">
                  <a:pos x="615" y="342"/>
                </a:cxn>
                <a:cxn ang="0">
                  <a:pos x="590" y="286"/>
                </a:cxn>
                <a:cxn ang="0">
                  <a:pos x="602" y="260"/>
                </a:cxn>
                <a:cxn ang="0">
                  <a:pos x="560" y="236"/>
                </a:cxn>
                <a:cxn ang="0">
                  <a:pos x="523" y="213"/>
                </a:cxn>
                <a:cxn ang="0">
                  <a:pos x="514" y="180"/>
                </a:cxn>
                <a:cxn ang="0">
                  <a:pos x="483" y="195"/>
                </a:cxn>
                <a:cxn ang="0">
                  <a:pos x="476" y="154"/>
                </a:cxn>
                <a:cxn ang="0">
                  <a:pos x="434" y="171"/>
                </a:cxn>
                <a:cxn ang="0">
                  <a:pos x="411" y="119"/>
                </a:cxn>
                <a:cxn ang="0">
                  <a:pos x="389" y="124"/>
                </a:cxn>
                <a:cxn ang="0">
                  <a:pos x="356" y="150"/>
                </a:cxn>
                <a:cxn ang="0">
                  <a:pos x="356" y="101"/>
                </a:cxn>
                <a:cxn ang="0">
                  <a:pos x="341" y="93"/>
                </a:cxn>
                <a:cxn ang="0">
                  <a:pos x="314" y="81"/>
                </a:cxn>
                <a:cxn ang="0">
                  <a:pos x="276" y="97"/>
                </a:cxn>
                <a:cxn ang="0">
                  <a:pos x="292" y="51"/>
                </a:cxn>
                <a:cxn ang="0">
                  <a:pos x="244" y="106"/>
                </a:cxn>
                <a:cxn ang="0">
                  <a:pos x="216" y="112"/>
                </a:cxn>
                <a:cxn ang="0">
                  <a:pos x="266" y="43"/>
                </a:cxn>
                <a:cxn ang="0">
                  <a:pos x="214" y="91"/>
                </a:cxn>
                <a:cxn ang="0">
                  <a:pos x="173" y="98"/>
                </a:cxn>
                <a:cxn ang="0">
                  <a:pos x="186" y="38"/>
                </a:cxn>
                <a:cxn ang="0">
                  <a:pos x="173" y="69"/>
                </a:cxn>
                <a:cxn ang="0">
                  <a:pos x="166" y="36"/>
                </a:cxn>
                <a:cxn ang="0">
                  <a:pos x="142" y="114"/>
                </a:cxn>
                <a:cxn ang="0">
                  <a:pos x="126" y="39"/>
                </a:cxn>
                <a:cxn ang="0">
                  <a:pos x="80" y="112"/>
                </a:cxn>
                <a:cxn ang="0">
                  <a:pos x="56" y="117"/>
                </a:cxn>
                <a:cxn ang="0">
                  <a:pos x="37" y="43"/>
                </a:cxn>
                <a:cxn ang="0">
                  <a:pos x="5" y="1808"/>
                </a:cxn>
                <a:cxn ang="0">
                  <a:pos x="0" y="1840"/>
                </a:cxn>
                <a:cxn ang="0">
                  <a:pos x="162" y="1823"/>
                </a:cxn>
                <a:cxn ang="0">
                  <a:pos x="529" y="1842"/>
                </a:cxn>
                <a:cxn ang="0">
                  <a:pos x="614" y="1829"/>
                </a:cxn>
                <a:cxn ang="0">
                  <a:pos x="421" y="1778"/>
                </a:cxn>
                <a:cxn ang="0">
                  <a:pos x="272" y="1664"/>
                </a:cxn>
                <a:cxn ang="0">
                  <a:pos x="237" y="1566"/>
                </a:cxn>
                <a:cxn ang="0">
                  <a:pos x="239" y="1432"/>
                </a:cxn>
                <a:cxn ang="0">
                  <a:pos x="315" y="1404"/>
                </a:cxn>
                <a:cxn ang="0">
                  <a:pos x="586" y="1387"/>
                </a:cxn>
                <a:cxn ang="0">
                  <a:pos x="605" y="1286"/>
                </a:cxn>
                <a:cxn ang="0">
                  <a:pos x="609" y="1223"/>
                </a:cxn>
                <a:cxn ang="0">
                  <a:pos x="630" y="1174"/>
                </a:cxn>
                <a:cxn ang="0">
                  <a:pos x="590" y="1133"/>
                </a:cxn>
                <a:cxn ang="0">
                  <a:pos x="650" y="1082"/>
                </a:cxn>
                <a:cxn ang="0">
                  <a:pos x="621" y="1018"/>
                </a:cxn>
                <a:cxn ang="0">
                  <a:pos x="704" y="959"/>
                </a:cxn>
                <a:cxn ang="0">
                  <a:pos x="639" y="841"/>
                </a:cxn>
              </a:cxnLst>
              <a:rect l="0" t="0" r="r" b="b"/>
              <a:pathLst>
                <a:path w="724" h="1845">
                  <a:moveTo>
                    <a:pt x="451" y="808"/>
                  </a:moveTo>
                  <a:lnTo>
                    <a:pt x="451" y="808"/>
                  </a:lnTo>
                  <a:cubicBezTo>
                    <a:pt x="397" y="820"/>
                    <a:pt x="315" y="783"/>
                    <a:pt x="326" y="776"/>
                  </a:cubicBezTo>
                  <a:cubicBezTo>
                    <a:pt x="353" y="757"/>
                    <a:pt x="416" y="725"/>
                    <a:pt x="477" y="746"/>
                  </a:cubicBezTo>
                  <a:cubicBezTo>
                    <a:pt x="488" y="750"/>
                    <a:pt x="492" y="760"/>
                    <a:pt x="493" y="773"/>
                  </a:cubicBezTo>
                  <a:cubicBezTo>
                    <a:pt x="496" y="804"/>
                    <a:pt x="471" y="805"/>
                    <a:pt x="451" y="808"/>
                  </a:cubicBezTo>
                  <a:lnTo>
                    <a:pt x="451" y="808"/>
                  </a:lnTo>
                  <a:close/>
                  <a:moveTo>
                    <a:pt x="639" y="841"/>
                  </a:moveTo>
                  <a:lnTo>
                    <a:pt x="639" y="841"/>
                  </a:lnTo>
                  <a:cubicBezTo>
                    <a:pt x="610" y="803"/>
                    <a:pt x="557" y="751"/>
                    <a:pt x="601" y="701"/>
                  </a:cubicBezTo>
                  <a:cubicBezTo>
                    <a:pt x="624" y="684"/>
                    <a:pt x="631" y="670"/>
                    <a:pt x="634" y="646"/>
                  </a:cubicBezTo>
                  <a:cubicBezTo>
                    <a:pt x="644" y="560"/>
                    <a:pt x="639" y="524"/>
                    <a:pt x="627" y="477"/>
                  </a:cubicBezTo>
                  <a:cubicBezTo>
                    <a:pt x="629" y="473"/>
                    <a:pt x="638" y="478"/>
                    <a:pt x="641" y="463"/>
                  </a:cubicBezTo>
                  <a:cubicBezTo>
                    <a:pt x="650" y="422"/>
                    <a:pt x="627" y="414"/>
                    <a:pt x="627" y="414"/>
                  </a:cubicBezTo>
                  <a:cubicBezTo>
                    <a:pt x="645" y="399"/>
                    <a:pt x="643" y="342"/>
                    <a:pt x="615" y="342"/>
                  </a:cubicBezTo>
                  <a:cubicBezTo>
                    <a:pt x="631" y="317"/>
                    <a:pt x="617" y="277"/>
                    <a:pt x="590" y="286"/>
                  </a:cubicBezTo>
                  <a:cubicBezTo>
                    <a:pt x="590" y="286"/>
                    <a:pt x="604" y="278"/>
                    <a:pt x="602" y="260"/>
                  </a:cubicBezTo>
                  <a:cubicBezTo>
                    <a:pt x="599" y="224"/>
                    <a:pt x="547" y="259"/>
                    <a:pt x="560" y="236"/>
                  </a:cubicBezTo>
                  <a:cubicBezTo>
                    <a:pt x="567" y="223"/>
                    <a:pt x="538" y="180"/>
                    <a:pt x="523" y="213"/>
                  </a:cubicBezTo>
                  <a:cubicBezTo>
                    <a:pt x="515" y="207"/>
                    <a:pt x="529" y="187"/>
                    <a:pt x="514" y="180"/>
                  </a:cubicBezTo>
                  <a:cubicBezTo>
                    <a:pt x="504" y="181"/>
                    <a:pt x="495" y="188"/>
                    <a:pt x="483" y="195"/>
                  </a:cubicBezTo>
                  <a:cubicBezTo>
                    <a:pt x="479" y="181"/>
                    <a:pt x="494" y="174"/>
                    <a:pt x="476" y="154"/>
                  </a:cubicBezTo>
                  <a:cubicBezTo>
                    <a:pt x="452" y="138"/>
                    <a:pt x="451" y="162"/>
                    <a:pt x="434" y="171"/>
                  </a:cubicBezTo>
                  <a:cubicBezTo>
                    <a:pt x="404" y="164"/>
                    <a:pt x="476" y="146"/>
                    <a:pt x="411" y="119"/>
                  </a:cubicBezTo>
                  <a:cubicBezTo>
                    <a:pt x="395" y="159"/>
                    <a:pt x="396" y="130"/>
                    <a:pt x="389" y="124"/>
                  </a:cubicBezTo>
                  <a:cubicBezTo>
                    <a:pt x="384" y="121"/>
                    <a:pt x="375" y="131"/>
                    <a:pt x="356" y="150"/>
                  </a:cubicBezTo>
                  <a:cubicBezTo>
                    <a:pt x="366" y="124"/>
                    <a:pt x="388" y="92"/>
                    <a:pt x="356" y="101"/>
                  </a:cubicBezTo>
                  <a:cubicBezTo>
                    <a:pt x="320" y="117"/>
                    <a:pt x="341" y="96"/>
                    <a:pt x="341" y="93"/>
                  </a:cubicBezTo>
                  <a:cubicBezTo>
                    <a:pt x="372" y="79"/>
                    <a:pt x="312" y="45"/>
                    <a:pt x="314" y="81"/>
                  </a:cubicBezTo>
                  <a:cubicBezTo>
                    <a:pt x="313" y="105"/>
                    <a:pt x="261" y="126"/>
                    <a:pt x="276" y="97"/>
                  </a:cubicBezTo>
                  <a:cubicBezTo>
                    <a:pt x="286" y="60"/>
                    <a:pt x="331" y="116"/>
                    <a:pt x="292" y="51"/>
                  </a:cubicBezTo>
                  <a:cubicBezTo>
                    <a:pt x="268" y="78"/>
                    <a:pt x="248" y="96"/>
                    <a:pt x="244" y="106"/>
                  </a:cubicBezTo>
                  <a:cubicBezTo>
                    <a:pt x="225" y="181"/>
                    <a:pt x="236" y="113"/>
                    <a:pt x="216" y="112"/>
                  </a:cubicBezTo>
                  <a:cubicBezTo>
                    <a:pt x="242" y="94"/>
                    <a:pt x="276" y="63"/>
                    <a:pt x="266" y="43"/>
                  </a:cubicBezTo>
                  <a:cubicBezTo>
                    <a:pt x="237" y="41"/>
                    <a:pt x="172" y="87"/>
                    <a:pt x="214" y="91"/>
                  </a:cubicBezTo>
                  <a:cubicBezTo>
                    <a:pt x="211" y="106"/>
                    <a:pt x="187" y="123"/>
                    <a:pt x="173" y="98"/>
                  </a:cubicBezTo>
                  <a:cubicBezTo>
                    <a:pt x="196" y="92"/>
                    <a:pt x="235" y="15"/>
                    <a:pt x="186" y="38"/>
                  </a:cubicBezTo>
                  <a:cubicBezTo>
                    <a:pt x="181" y="42"/>
                    <a:pt x="181" y="56"/>
                    <a:pt x="173" y="69"/>
                  </a:cubicBezTo>
                  <a:cubicBezTo>
                    <a:pt x="161" y="58"/>
                    <a:pt x="170" y="42"/>
                    <a:pt x="166" y="36"/>
                  </a:cubicBezTo>
                  <a:cubicBezTo>
                    <a:pt x="127" y="0"/>
                    <a:pt x="141" y="93"/>
                    <a:pt x="142" y="114"/>
                  </a:cubicBezTo>
                  <a:cubicBezTo>
                    <a:pt x="92" y="82"/>
                    <a:pt x="139" y="91"/>
                    <a:pt x="126" y="39"/>
                  </a:cubicBezTo>
                  <a:cubicBezTo>
                    <a:pt x="84" y="47"/>
                    <a:pt x="73" y="64"/>
                    <a:pt x="80" y="112"/>
                  </a:cubicBezTo>
                  <a:cubicBezTo>
                    <a:pt x="74" y="123"/>
                    <a:pt x="63" y="149"/>
                    <a:pt x="56" y="117"/>
                  </a:cubicBezTo>
                  <a:cubicBezTo>
                    <a:pt x="79" y="87"/>
                    <a:pt x="77" y="44"/>
                    <a:pt x="37" y="43"/>
                  </a:cubicBezTo>
                  <a:cubicBezTo>
                    <a:pt x="101" y="631"/>
                    <a:pt x="97" y="1225"/>
                    <a:pt x="5" y="1808"/>
                  </a:cubicBezTo>
                  <a:lnTo>
                    <a:pt x="0" y="1840"/>
                  </a:lnTo>
                  <a:cubicBezTo>
                    <a:pt x="46" y="1839"/>
                    <a:pt x="113" y="1825"/>
                    <a:pt x="162" y="1823"/>
                  </a:cubicBezTo>
                  <a:cubicBezTo>
                    <a:pt x="301" y="1827"/>
                    <a:pt x="298" y="1845"/>
                    <a:pt x="529" y="1842"/>
                  </a:cubicBezTo>
                  <a:cubicBezTo>
                    <a:pt x="582" y="1837"/>
                    <a:pt x="597" y="1829"/>
                    <a:pt x="614" y="1829"/>
                  </a:cubicBezTo>
                  <a:cubicBezTo>
                    <a:pt x="597" y="1758"/>
                    <a:pt x="481" y="1798"/>
                    <a:pt x="421" y="1778"/>
                  </a:cubicBezTo>
                  <a:cubicBezTo>
                    <a:pt x="321" y="1768"/>
                    <a:pt x="304" y="1708"/>
                    <a:pt x="272" y="1664"/>
                  </a:cubicBezTo>
                  <a:cubicBezTo>
                    <a:pt x="258" y="1639"/>
                    <a:pt x="237" y="1608"/>
                    <a:pt x="237" y="1566"/>
                  </a:cubicBezTo>
                  <a:cubicBezTo>
                    <a:pt x="230" y="1513"/>
                    <a:pt x="240" y="1484"/>
                    <a:pt x="239" y="1432"/>
                  </a:cubicBezTo>
                  <a:cubicBezTo>
                    <a:pt x="243" y="1393"/>
                    <a:pt x="287" y="1401"/>
                    <a:pt x="315" y="1404"/>
                  </a:cubicBezTo>
                  <a:cubicBezTo>
                    <a:pt x="402" y="1413"/>
                    <a:pt x="547" y="1399"/>
                    <a:pt x="586" y="1387"/>
                  </a:cubicBezTo>
                  <a:cubicBezTo>
                    <a:pt x="641" y="1371"/>
                    <a:pt x="642" y="1337"/>
                    <a:pt x="605" y="1286"/>
                  </a:cubicBezTo>
                  <a:cubicBezTo>
                    <a:pt x="597" y="1261"/>
                    <a:pt x="598" y="1245"/>
                    <a:pt x="609" y="1223"/>
                  </a:cubicBezTo>
                  <a:cubicBezTo>
                    <a:pt x="625" y="1206"/>
                    <a:pt x="644" y="1195"/>
                    <a:pt x="630" y="1174"/>
                  </a:cubicBezTo>
                  <a:cubicBezTo>
                    <a:pt x="630" y="1174"/>
                    <a:pt x="504" y="1147"/>
                    <a:pt x="590" y="1133"/>
                  </a:cubicBezTo>
                  <a:cubicBezTo>
                    <a:pt x="679" y="1118"/>
                    <a:pt x="650" y="1082"/>
                    <a:pt x="650" y="1082"/>
                  </a:cubicBezTo>
                  <a:cubicBezTo>
                    <a:pt x="650" y="1082"/>
                    <a:pt x="635" y="1045"/>
                    <a:pt x="621" y="1018"/>
                  </a:cubicBezTo>
                  <a:cubicBezTo>
                    <a:pt x="611" y="998"/>
                    <a:pt x="695" y="991"/>
                    <a:pt x="704" y="959"/>
                  </a:cubicBezTo>
                  <a:cubicBezTo>
                    <a:pt x="724" y="932"/>
                    <a:pt x="661" y="871"/>
                    <a:pt x="639" y="841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6" name="Freeform 14"/>
            <p:cNvSpPr>
              <a:spLocks noChangeAspect="1"/>
            </p:cNvSpPr>
            <p:nvPr/>
          </p:nvSpPr>
          <p:spPr bwMode="gray">
            <a:xfrm>
              <a:off x="1352" y="681"/>
              <a:ext cx="1829" cy="3153"/>
            </a:xfrm>
            <a:custGeom>
              <a:avLst/>
              <a:gdLst/>
              <a:ahLst/>
              <a:cxnLst>
                <a:cxn ang="0">
                  <a:pos x="1974" y="2106"/>
                </a:cxn>
                <a:cxn ang="0">
                  <a:pos x="0" y="3449"/>
                </a:cxn>
                <a:cxn ang="0">
                  <a:pos x="1972" y="0"/>
                </a:cxn>
                <a:cxn ang="0">
                  <a:pos x="1980" y="347"/>
                </a:cxn>
                <a:cxn ang="0">
                  <a:pos x="1982" y="392"/>
                </a:cxn>
                <a:cxn ang="0">
                  <a:pos x="1923" y="324"/>
                </a:cxn>
                <a:cxn ang="0">
                  <a:pos x="1878" y="384"/>
                </a:cxn>
                <a:cxn ang="0">
                  <a:pos x="1858" y="411"/>
                </a:cxn>
                <a:cxn ang="0">
                  <a:pos x="1823" y="348"/>
                </a:cxn>
                <a:cxn ang="0">
                  <a:pos x="1766" y="359"/>
                </a:cxn>
                <a:cxn ang="0">
                  <a:pos x="1702" y="494"/>
                </a:cxn>
                <a:cxn ang="0">
                  <a:pos x="1680" y="420"/>
                </a:cxn>
                <a:cxn ang="0">
                  <a:pos x="1605" y="427"/>
                </a:cxn>
                <a:cxn ang="0">
                  <a:pos x="1609" y="499"/>
                </a:cxn>
                <a:cxn ang="0">
                  <a:pos x="1520" y="498"/>
                </a:cxn>
                <a:cxn ang="0">
                  <a:pos x="1513" y="560"/>
                </a:cxn>
                <a:cxn ang="0">
                  <a:pos x="1407" y="521"/>
                </a:cxn>
                <a:cxn ang="0">
                  <a:pos x="1521" y="578"/>
                </a:cxn>
                <a:cxn ang="0">
                  <a:pos x="1453" y="612"/>
                </a:cxn>
                <a:cxn ang="0">
                  <a:pos x="1441" y="603"/>
                </a:cxn>
                <a:cxn ang="0">
                  <a:pos x="1404" y="640"/>
                </a:cxn>
                <a:cxn ang="0">
                  <a:pos x="1448" y="632"/>
                </a:cxn>
                <a:cxn ang="0">
                  <a:pos x="1433" y="703"/>
                </a:cxn>
                <a:cxn ang="0">
                  <a:pos x="1392" y="719"/>
                </a:cxn>
                <a:cxn ang="0">
                  <a:pos x="1410" y="785"/>
                </a:cxn>
                <a:cxn ang="0">
                  <a:pos x="1321" y="761"/>
                </a:cxn>
                <a:cxn ang="0">
                  <a:pos x="1255" y="760"/>
                </a:cxn>
                <a:cxn ang="0">
                  <a:pos x="1205" y="829"/>
                </a:cxn>
                <a:cxn ang="0">
                  <a:pos x="1350" y="845"/>
                </a:cxn>
                <a:cxn ang="0">
                  <a:pos x="1308" y="881"/>
                </a:cxn>
                <a:cxn ang="0">
                  <a:pos x="1308" y="953"/>
                </a:cxn>
                <a:cxn ang="0">
                  <a:pos x="1358" y="951"/>
                </a:cxn>
                <a:cxn ang="0">
                  <a:pos x="1319" y="1061"/>
                </a:cxn>
                <a:cxn ang="0">
                  <a:pos x="1324" y="1115"/>
                </a:cxn>
                <a:cxn ang="0">
                  <a:pos x="1283" y="1185"/>
                </a:cxn>
                <a:cxn ang="0">
                  <a:pos x="1257" y="1226"/>
                </a:cxn>
                <a:cxn ang="0">
                  <a:pos x="1285" y="1267"/>
                </a:cxn>
                <a:cxn ang="0">
                  <a:pos x="1314" y="1311"/>
                </a:cxn>
                <a:cxn ang="0">
                  <a:pos x="1363" y="1376"/>
                </a:cxn>
                <a:cxn ang="0">
                  <a:pos x="1438" y="1413"/>
                </a:cxn>
                <a:cxn ang="0">
                  <a:pos x="1494" y="1379"/>
                </a:cxn>
                <a:cxn ang="0">
                  <a:pos x="1513" y="1471"/>
                </a:cxn>
                <a:cxn ang="0">
                  <a:pos x="1605" y="1474"/>
                </a:cxn>
                <a:cxn ang="0">
                  <a:pos x="1584" y="1525"/>
                </a:cxn>
                <a:cxn ang="0">
                  <a:pos x="1618" y="1559"/>
                </a:cxn>
                <a:cxn ang="0">
                  <a:pos x="1644" y="1602"/>
                </a:cxn>
                <a:cxn ang="0">
                  <a:pos x="1700" y="1594"/>
                </a:cxn>
                <a:cxn ang="0">
                  <a:pos x="1729" y="1535"/>
                </a:cxn>
                <a:cxn ang="0">
                  <a:pos x="1794" y="1574"/>
                </a:cxn>
                <a:cxn ang="0">
                  <a:pos x="1808" y="1711"/>
                </a:cxn>
                <a:cxn ang="0">
                  <a:pos x="1870" y="1688"/>
                </a:cxn>
                <a:cxn ang="0">
                  <a:pos x="1839" y="1844"/>
                </a:cxn>
                <a:cxn ang="0">
                  <a:pos x="1446" y="2092"/>
                </a:cxn>
                <a:cxn ang="0">
                  <a:pos x="1654" y="2103"/>
                </a:cxn>
                <a:cxn ang="0">
                  <a:pos x="1974" y="2105"/>
                </a:cxn>
              </a:cxnLst>
              <a:rect l="0" t="0" r="r" b="b"/>
              <a:pathLst>
                <a:path w="2011" h="3449">
                  <a:moveTo>
                    <a:pt x="1974" y="2106"/>
                  </a:moveTo>
                  <a:lnTo>
                    <a:pt x="1974" y="2106"/>
                  </a:lnTo>
                  <a:cubicBezTo>
                    <a:pt x="1903" y="2543"/>
                    <a:pt x="1782" y="2987"/>
                    <a:pt x="1602" y="3449"/>
                  </a:cubicBezTo>
                  <a:lnTo>
                    <a:pt x="0" y="3449"/>
                  </a:lnTo>
                  <a:lnTo>
                    <a:pt x="0" y="0"/>
                  </a:lnTo>
                  <a:lnTo>
                    <a:pt x="1972" y="0"/>
                  </a:lnTo>
                  <a:cubicBezTo>
                    <a:pt x="1988" y="113"/>
                    <a:pt x="1999" y="197"/>
                    <a:pt x="2011" y="309"/>
                  </a:cubicBezTo>
                  <a:cubicBezTo>
                    <a:pt x="2011" y="309"/>
                    <a:pt x="1977" y="320"/>
                    <a:pt x="1980" y="347"/>
                  </a:cubicBezTo>
                  <a:cubicBezTo>
                    <a:pt x="1984" y="378"/>
                    <a:pt x="1997" y="385"/>
                    <a:pt x="1997" y="385"/>
                  </a:cubicBezTo>
                  <a:lnTo>
                    <a:pt x="1982" y="392"/>
                  </a:lnTo>
                  <a:cubicBezTo>
                    <a:pt x="1982" y="392"/>
                    <a:pt x="1966" y="368"/>
                    <a:pt x="1966" y="369"/>
                  </a:cubicBezTo>
                  <a:cubicBezTo>
                    <a:pt x="1966" y="346"/>
                    <a:pt x="1976" y="311"/>
                    <a:pt x="1923" y="324"/>
                  </a:cubicBezTo>
                  <a:cubicBezTo>
                    <a:pt x="1904" y="365"/>
                    <a:pt x="1952" y="373"/>
                    <a:pt x="1939" y="401"/>
                  </a:cubicBezTo>
                  <a:cubicBezTo>
                    <a:pt x="1883" y="404"/>
                    <a:pt x="1923" y="359"/>
                    <a:pt x="1878" y="384"/>
                  </a:cubicBezTo>
                  <a:cubicBezTo>
                    <a:pt x="1881" y="371"/>
                    <a:pt x="1871" y="336"/>
                    <a:pt x="1857" y="339"/>
                  </a:cubicBezTo>
                  <a:cubicBezTo>
                    <a:pt x="1851" y="358"/>
                    <a:pt x="1836" y="391"/>
                    <a:pt x="1858" y="411"/>
                  </a:cubicBezTo>
                  <a:cubicBezTo>
                    <a:pt x="1851" y="416"/>
                    <a:pt x="1830" y="413"/>
                    <a:pt x="1825" y="406"/>
                  </a:cubicBezTo>
                  <a:cubicBezTo>
                    <a:pt x="1819" y="396"/>
                    <a:pt x="1840" y="379"/>
                    <a:pt x="1823" y="348"/>
                  </a:cubicBezTo>
                  <a:cubicBezTo>
                    <a:pt x="1771" y="371"/>
                    <a:pt x="1819" y="421"/>
                    <a:pt x="1776" y="440"/>
                  </a:cubicBezTo>
                  <a:cubicBezTo>
                    <a:pt x="1729" y="434"/>
                    <a:pt x="1803" y="394"/>
                    <a:pt x="1766" y="359"/>
                  </a:cubicBezTo>
                  <a:cubicBezTo>
                    <a:pt x="1723" y="369"/>
                    <a:pt x="1707" y="413"/>
                    <a:pt x="1724" y="439"/>
                  </a:cubicBezTo>
                  <a:cubicBezTo>
                    <a:pt x="1723" y="462"/>
                    <a:pt x="1705" y="474"/>
                    <a:pt x="1702" y="494"/>
                  </a:cubicBezTo>
                  <a:cubicBezTo>
                    <a:pt x="1681" y="491"/>
                    <a:pt x="1672" y="483"/>
                    <a:pt x="1670" y="475"/>
                  </a:cubicBezTo>
                  <a:cubicBezTo>
                    <a:pt x="1667" y="460"/>
                    <a:pt x="1708" y="453"/>
                    <a:pt x="1680" y="420"/>
                  </a:cubicBezTo>
                  <a:cubicBezTo>
                    <a:pt x="1635" y="427"/>
                    <a:pt x="1665" y="500"/>
                    <a:pt x="1629" y="461"/>
                  </a:cubicBezTo>
                  <a:cubicBezTo>
                    <a:pt x="1626" y="444"/>
                    <a:pt x="1614" y="429"/>
                    <a:pt x="1605" y="427"/>
                  </a:cubicBezTo>
                  <a:cubicBezTo>
                    <a:pt x="1588" y="439"/>
                    <a:pt x="1580" y="459"/>
                    <a:pt x="1591" y="476"/>
                  </a:cubicBezTo>
                  <a:lnTo>
                    <a:pt x="1609" y="499"/>
                  </a:lnTo>
                  <a:cubicBezTo>
                    <a:pt x="1607" y="499"/>
                    <a:pt x="1617" y="513"/>
                    <a:pt x="1615" y="512"/>
                  </a:cubicBezTo>
                  <a:cubicBezTo>
                    <a:pt x="1585" y="488"/>
                    <a:pt x="1545" y="471"/>
                    <a:pt x="1520" y="498"/>
                  </a:cubicBezTo>
                  <a:cubicBezTo>
                    <a:pt x="1523" y="523"/>
                    <a:pt x="1545" y="525"/>
                    <a:pt x="1579" y="533"/>
                  </a:cubicBezTo>
                  <a:cubicBezTo>
                    <a:pt x="1536" y="537"/>
                    <a:pt x="1527" y="552"/>
                    <a:pt x="1513" y="560"/>
                  </a:cubicBezTo>
                  <a:cubicBezTo>
                    <a:pt x="1508" y="532"/>
                    <a:pt x="1475" y="527"/>
                    <a:pt x="1444" y="523"/>
                  </a:cubicBezTo>
                  <a:cubicBezTo>
                    <a:pt x="1426" y="527"/>
                    <a:pt x="1415" y="515"/>
                    <a:pt x="1407" y="521"/>
                  </a:cubicBezTo>
                  <a:cubicBezTo>
                    <a:pt x="1420" y="553"/>
                    <a:pt x="1451" y="578"/>
                    <a:pt x="1490" y="586"/>
                  </a:cubicBezTo>
                  <a:cubicBezTo>
                    <a:pt x="1507" y="584"/>
                    <a:pt x="1509" y="584"/>
                    <a:pt x="1521" y="578"/>
                  </a:cubicBezTo>
                  <a:cubicBezTo>
                    <a:pt x="1544" y="588"/>
                    <a:pt x="1542" y="592"/>
                    <a:pt x="1548" y="608"/>
                  </a:cubicBezTo>
                  <a:cubicBezTo>
                    <a:pt x="1514" y="623"/>
                    <a:pt x="1487" y="604"/>
                    <a:pt x="1453" y="612"/>
                  </a:cubicBezTo>
                  <a:cubicBezTo>
                    <a:pt x="1453" y="614"/>
                    <a:pt x="1445" y="614"/>
                    <a:pt x="1444" y="611"/>
                  </a:cubicBezTo>
                  <a:cubicBezTo>
                    <a:pt x="1445" y="611"/>
                    <a:pt x="1440" y="603"/>
                    <a:pt x="1441" y="603"/>
                  </a:cubicBezTo>
                  <a:cubicBezTo>
                    <a:pt x="1426" y="575"/>
                    <a:pt x="1387" y="586"/>
                    <a:pt x="1366" y="592"/>
                  </a:cubicBezTo>
                  <a:cubicBezTo>
                    <a:pt x="1363" y="614"/>
                    <a:pt x="1386" y="632"/>
                    <a:pt x="1404" y="640"/>
                  </a:cubicBezTo>
                  <a:cubicBezTo>
                    <a:pt x="1429" y="649"/>
                    <a:pt x="1438" y="641"/>
                    <a:pt x="1438" y="641"/>
                  </a:cubicBezTo>
                  <a:lnTo>
                    <a:pt x="1448" y="632"/>
                  </a:lnTo>
                  <a:cubicBezTo>
                    <a:pt x="1459" y="672"/>
                    <a:pt x="1473" y="674"/>
                    <a:pt x="1494" y="690"/>
                  </a:cubicBezTo>
                  <a:cubicBezTo>
                    <a:pt x="1471" y="698"/>
                    <a:pt x="1462" y="705"/>
                    <a:pt x="1433" y="703"/>
                  </a:cubicBezTo>
                  <a:cubicBezTo>
                    <a:pt x="1400" y="652"/>
                    <a:pt x="1301" y="630"/>
                    <a:pt x="1305" y="654"/>
                  </a:cubicBezTo>
                  <a:cubicBezTo>
                    <a:pt x="1319" y="706"/>
                    <a:pt x="1392" y="719"/>
                    <a:pt x="1392" y="719"/>
                  </a:cubicBezTo>
                  <a:cubicBezTo>
                    <a:pt x="1392" y="719"/>
                    <a:pt x="1354" y="733"/>
                    <a:pt x="1360" y="746"/>
                  </a:cubicBezTo>
                  <a:cubicBezTo>
                    <a:pt x="1367" y="758"/>
                    <a:pt x="1417" y="766"/>
                    <a:pt x="1410" y="785"/>
                  </a:cubicBezTo>
                  <a:cubicBezTo>
                    <a:pt x="1358" y="762"/>
                    <a:pt x="1348" y="771"/>
                    <a:pt x="1383" y="817"/>
                  </a:cubicBezTo>
                  <a:cubicBezTo>
                    <a:pt x="1339" y="819"/>
                    <a:pt x="1349" y="772"/>
                    <a:pt x="1321" y="761"/>
                  </a:cubicBezTo>
                  <a:cubicBezTo>
                    <a:pt x="1301" y="775"/>
                    <a:pt x="1313" y="806"/>
                    <a:pt x="1313" y="806"/>
                  </a:cubicBezTo>
                  <a:cubicBezTo>
                    <a:pt x="1303" y="798"/>
                    <a:pt x="1277" y="754"/>
                    <a:pt x="1255" y="760"/>
                  </a:cubicBezTo>
                  <a:cubicBezTo>
                    <a:pt x="1248" y="765"/>
                    <a:pt x="1248" y="789"/>
                    <a:pt x="1265" y="805"/>
                  </a:cubicBezTo>
                  <a:cubicBezTo>
                    <a:pt x="1244" y="809"/>
                    <a:pt x="1210" y="806"/>
                    <a:pt x="1205" y="829"/>
                  </a:cubicBezTo>
                  <a:cubicBezTo>
                    <a:pt x="1239" y="855"/>
                    <a:pt x="1276" y="855"/>
                    <a:pt x="1329" y="849"/>
                  </a:cubicBezTo>
                  <a:cubicBezTo>
                    <a:pt x="1329" y="849"/>
                    <a:pt x="1339" y="848"/>
                    <a:pt x="1350" y="845"/>
                  </a:cubicBezTo>
                  <a:cubicBezTo>
                    <a:pt x="1360" y="842"/>
                    <a:pt x="1375" y="856"/>
                    <a:pt x="1375" y="856"/>
                  </a:cubicBezTo>
                  <a:cubicBezTo>
                    <a:pt x="1349" y="862"/>
                    <a:pt x="1360" y="870"/>
                    <a:pt x="1308" y="881"/>
                  </a:cubicBezTo>
                  <a:cubicBezTo>
                    <a:pt x="1274" y="897"/>
                    <a:pt x="1247" y="918"/>
                    <a:pt x="1247" y="953"/>
                  </a:cubicBezTo>
                  <a:cubicBezTo>
                    <a:pt x="1268" y="963"/>
                    <a:pt x="1294" y="973"/>
                    <a:pt x="1308" y="953"/>
                  </a:cubicBezTo>
                  <a:cubicBezTo>
                    <a:pt x="1331" y="920"/>
                    <a:pt x="1324" y="946"/>
                    <a:pt x="1340" y="945"/>
                  </a:cubicBezTo>
                  <a:lnTo>
                    <a:pt x="1358" y="951"/>
                  </a:lnTo>
                  <a:cubicBezTo>
                    <a:pt x="1344" y="986"/>
                    <a:pt x="1264" y="985"/>
                    <a:pt x="1279" y="1011"/>
                  </a:cubicBezTo>
                  <a:cubicBezTo>
                    <a:pt x="1295" y="1035"/>
                    <a:pt x="1319" y="1061"/>
                    <a:pt x="1319" y="1061"/>
                  </a:cubicBezTo>
                  <a:cubicBezTo>
                    <a:pt x="1319" y="1061"/>
                    <a:pt x="1263" y="1032"/>
                    <a:pt x="1247" y="1053"/>
                  </a:cubicBezTo>
                  <a:cubicBezTo>
                    <a:pt x="1232" y="1071"/>
                    <a:pt x="1265" y="1102"/>
                    <a:pt x="1324" y="1115"/>
                  </a:cubicBezTo>
                  <a:cubicBezTo>
                    <a:pt x="1304" y="1128"/>
                    <a:pt x="1233" y="1115"/>
                    <a:pt x="1276" y="1160"/>
                  </a:cubicBezTo>
                  <a:cubicBezTo>
                    <a:pt x="1225" y="1181"/>
                    <a:pt x="1242" y="1196"/>
                    <a:pt x="1283" y="1185"/>
                  </a:cubicBezTo>
                  <a:lnTo>
                    <a:pt x="1303" y="1188"/>
                  </a:lnTo>
                  <a:cubicBezTo>
                    <a:pt x="1291" y="1196"/>
                    <a:pt x="1254" y="1213"/>
                    <a:pt x="1257" y="1226"/>
                  </a:cubicBezTo>
                  <a:cubicBezTo>
                    <a:pt x="1259" y="1243"/>
                    <a:pt x="1300" y="1222"/>
                    <a:pt x="1307" y="1235"/>
                  </a:cubicBezTo>
                  <a:cubicBezTo>
                    <a:pt x="1310" y="1254"/>
                    <a:pt x="1287" y="1262"/>
                    <a:pt x="1285" y="1267"/>
                  </a:cubicBezTo>
                  <a:cubicBezTo>
                    <a:pt x="1314" y="1286"/>
                    <a:pt x="1331" y="1241"/>
                    <a:pt x="1358" y="1267"/>
                  </a:cubicBezTo>
                  <a:cubicBezTo>
                    <a:pt x="1348" y="1286"/>
                    <a:pt x="1305" y="1282"/>
                    <a:pt x="1314" y="1311"/>
                  </a:cubicBezTo>
                  <a:cubicBezTo>
                    <a:pt x="1330" y="1323"/>
                    <a:pt x="1357" y="1318"/>
                    <a:pt x="1373" y="1329"/>
                  </a:cubicBezTo>
                  <a:cubicBezTo>
                    <a:pt x="1373" y="1329"/>
                    <a:pt x="1351" y="1371"/>
                    <a:pt x="1363" y="1376"/>
                  </a:cubicBezTo>
                  <a:cubicBezTo>
                    <a:pt x="1386" y="1388"/>
                    <a:pt x="1408" y="1351"/>
                    <a:pt x="1416" y="1349"/>
                  </a:cubicBezTo>
                  <a:cubicBezTo>
                    <a:pt x="1410" y="1396"/>
                    <a:pt x="1450" y="1380"/>
                    <a:pt x="1438" y="1413"/>
                  </a:cubicBezTo>
                  <a:cubicBezTo>
                    <a:pt x="1438" y="1430"/>
                    <a:pt x="1436" y="1454"/>
                    <a:pt x="1454" y="1463"/>
                  </a:cubicBezTo>
                  <a:cubicBezTo>
                    <a:pt x="1491" y="1452"/>
                    <a:pt x="1495" y="1423"/>
                    <a:pt x="1494" y="1379"/>
                  </a:cubicBezTo>
                  <a:cubicBezTo>
                    <a:pt x="1494" y="1364"/>
                    <a:pt x="1537" y="1389"/>
                    <a:pt x="1537" y="1389"/>
                  </a:cubicBezTo>
                  <a:cubicBezTo>
                    <a:pt x="1563" y="1410"/>
                    <a:pt x="1492" y="1426"/>
                    <a:pt x="1513" y="1471"/>
                  </a:cubicBezTo>
                  <a:cubicBezTo>
                    <a:pt x="1573" y="1479"/>
                    <a:pt x="1573" y="1428"/>
                    <a:pt x="1621" y="1419"/>
                  </a:cubicBezTo>
                  <a:cubicBezTo>
                    <a:pt x="1643" y="1433"/>
                    <a:pt x="1612" y="1457"/>
                    <a:pt x="1605" y="1474"/>
                  </a:cubicBezTo>
                  <a:cubicBezTo>
                    <a:pt x="1575" y="1491"/>
                    <a:pt x="1538" y="1471"/>
                    <a:pt x="1509" y="1530"/>
                  </a:cubicBezTo>
                  <a:cubicBezTo>
                    <a:pt x="1551" y="1546"/>
                    <a:pt x="1570" y="1533"/>
                    <a:pt x="1584" y="1525"/>
                  </a:cubicBezTo>
                  <a:cubicBezTo>
                    <a:pt x="1597" y="1516"/>
                    <a:pt x="1596" y="1511"/>
                    <a:pt x="1606" y="1507"/>
                  </a:cubicBezTo>
                  <a:cubicBezTo>
                    <a:pt x="1607" y="1523"/>
                    <a:pt x="1603" y="1553"/>
                    <a:pt x="1618" y="1559"/>
                  </a:cubicBezTo>
                  <a:cubicBezTo>
                    <a:pt x="1632" y="1558"/>
                    <a:pt x="1633" y="1553"/>
                    <a:pt x="1645" y="1546"/>
                  </a:cubicBezTo>
                  <a:cubicBezTo>
                    <a:pt x="1657" y="1558"/>
                    <a:pt x="1626" y="1589"/>
                    <a:pt x="1644" y="1602"/>
                  </a:cubicBezTo>
                  <a:cubicBezTo>
                    <a:pt x="1661" y="1599"/>
                    <a:pt x="1667" y="1583"/>
                    <a:pt x="1667" y="1583"/>
                  </a:cubicBezTo>
                  <a:cubicBezTo>
                    <a:pt x="1677" y="1597"/>
                    <a:pt x="1689" y="1597"/>
                    <a:pt x="1700" y="1594"/>
                  </a:cubicBezTo>
                  <a:cubicBezTo>
                    <a:pt x="1706" y="1579"/>
                    <a:pt x="1707" y="1545"/>
                    <a:pt x="1688" y="1533"/>
                  </a:cubicBezTo>
                  <a:cubicBezTo>
                    <a:pt x="1697" y="1522"/>
                    <a:pt x="1720" y="1543"/>
                    <a:pt x="1729" y="1535"/>
                  </a:cubicBezTo>
                  <a:cubicBezTo>
                    <a:pt x="1748" y="1557"/>
                    <a:pt x="1707" y="1600"/>
                    <a:pt x="1737" y="1618"/>
                  </a:cubicBezTo>
                  <a:cubicBezTo>
                    <a:pt x="1766" y="1615"/>
                    <a:pt x="1765" y="1586"/>
                    <a:pt x="1794" y="1574"/>
                  </a:cubicBezTo>
                  <a:cubicBezTo>
                    <a:pt x="1789" y="1604"/>
                    <a:pt x="1824" y="1626"/>
                    <a:pt x="1779" y="1648"/>
                  </a:cubicBezTo>
                  <a:cubicBezTo>
                    <a:pt x="1779" y="1677"/>
                    <a:pt x="1834" y="1669"/>
                    <a:pt x="1808" y="1711"/>
                  </a:cubicBezTo>
                  <a:cubicBezTo>
                    <a:pt x="1818" y="1728"/>
                    <a:pt x="1831" y="1721"/>
                    <a:pt x="1843" y="1718"/>
                  </a:cubicBezTo>
                  <a:lnTo>
                    <a:pt x="1870" y="1688"/>
                  </a:lnTo>
                  <a:cubicBezTo>
                    <a:pt x="1862" y="1712"/>
                    <a:pt x="1860" y="1750"/>
                    <a:pt x="1867" y="1777"/>
                  </a:cubicBezTo>
                  <a:cubicBezTo>
                    <a:pt x="1858" y="1800"/>
                    <a:pt x="1879" y="1825"/>
                    <a:pt x="1839" y="1844"/>
                  </a:cubicBezTo>
                  <a:cubicBezTo>
                    <a:pt x="1828" y="1900"/>
                    <a:pt x="1827" y="1956"/>
                    <a:pt x="1763" y="1992"/>
                  </a:cubicBezTo>
                  <a:cubicBezTo>
                    <a:pt x="1726" y="2060"/>
                    <a:pt x="1497" y="2024"/>
                    <a:pt x="1446" y="2092"/>
                  </a:cubicBezTo>
                  <a:cubicBezTo>
                    <a:pt x="1459" y="2104"/>
                    <a:pt x="1576" y="2100"/>
                    <a:pt x="1591" y="2096"/>
                  </a:cubicBezTo>
                  <a:cubicBezTo>
                    <a:pt x="1613" y="2085"/>
                    <a:pt x="1631" y="2104"/>
                    <a:pt x="1654" y="2103"/>
                  </a:cubicBezTo>
                  <a:cubicBezTo>
                    <a:pt x="1705" y="2103"/>
                    <a:pt x="1767" y="2086"/>
                    <a:pt x="1809" y="2103"/>
                  </a:cubicBezTo>
                  <a:cubicBezTo>
                    <a:pt x="1869" y="2103"/>
                    <a:pt x="1920" y="2105"/>
                    <a:pt x="1974" y="2105"/>
                  </a:cubicBezTo>
                  <a:lnTo>
                    <a:pt x="1974" y="2106"/>
                  </a:ln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7" name="Freeform 15"/>
            <p:cNvSpPr>
              <a:spLocks noChangeAspect="1" noEditPoints="1"/>
            </p:cNvSpPr>
            <p:nvPr/>
          </p:nvSpPr>
          <p:spPr bwMode="gray">
            <a:xfrm>
              <a:off x="3235" y="2758"/>
              <a:ext cx="581" cy="570"/>
            </a:xfrm>
            <a:custGeom>
              <a:avLst/>
              <a:gdLst/>
              <a:ahLst/>
              <a:cxnLst>
                <a:cxn ang="0">
                  <a:pos x="321" y="621"/>
                </a:cxn>
                <a:cxn ang="0">
                  <a:pos x="321" y="621"/>
                </a:cxn>
                <a:cxn ang="0">
                  <a:pos x="639" y="307"/>
                </a:cxn>
                <a:cxn ang="0">
                  <a:pos x="321" y="0"/>
                </a:cxn>
                <a:cxn ang="0">
                  <a:pos x="0" y="307"/>
                </a:cxn>
                <a:cxn ang="0">
                  <a:pos x="321" y="621"/>
                </a:cxn>
                <a:cxn ang="0">
                  <a:pos x="321" y="621"/>
                </a:cxn>
                <a:cxn ang="0">
                  <a:pos x="162" y="307"/>
                </a:cxn>
                <a:cxn ang="0">
                  <a:pos x="162" y="307"/>
                </a:cxn>
                <a:cxn ang="0">
                  <a:pos x="321" y="125"/>
                </a:cxn>
                <a:cxn ang="0">
                  <a:pos x="477" y="307"/>
                </a:cxn>
                <a:cxn ang="0">
                  <a:pos x="321" y="495"/>
                </a:cxn>
                <a:cxn ang="0">
                  <a:pos x="162" y="307"/>
                </a:cxn>
              </a:cxnLst>
              <a:rect l="0" t="0" r="r" b="b"/>
              <a:pathLst>
                <a:path w="639" h="621">
                  <a:moveTo>
                    <a:pt x="321" y="621"/>
                  </a:moveTo>
                  <a:lnTo>
                    <a:pt x="321" y="621"/>
                  </a:lnTo>
                  <a:cubicBezTo>
                    <a:pt x="512" y="621"/>
                    <a:pt x="639" y="480"/>
                    <a:pt x="639" y="307"/>
                  </a:cubicBezTo>
                  <a:cubicBezTo>
                    <a:pt x="639" y="124"/>
                    <a:pt x="511" y="0"/>
                    <a:pt x="321" y="0"/>
                  </a:cubicBezTo>
                  <a:cubicBezTo>
                    <a:pt x="130" y="0"/>
                    <a:pt x="0" y="121"/>
                    <a:pt x="0" y="307"/>
                  </a:cubicBezTo>
                  <a:cubicBezTo>
                    <a:pt x="0" y="489"/>
                    <a:pt x="132" y="621"/>
                    <a:pt x="321" y="621"/>
                  </a:cubicBezTo>
                  <a:lnTo>
                    <a:pt x="321" y="621"/>
                  </a:lnTo>
                  <a:close/>
                  <a:moveTo>
                    <a:pt x="162" y="307"/>
                  </a:moveTo>
                  <a:lnTo>
                    <a:pt x="162" y="307"/>
                  </a:lnTo>
                  <a:cubicBezTo>
                    <a:pt x="162" y="198"/>
                    <a:pt x="214" y="125"/>
                    <a:pt x="321" y="125"/>
                  </a:cubicBezTo>
                  <a:cubicBezTo>
                    <a:pt x="425" y="125"/>
                    <a:pt x="477" y="192"/>
                    <a:pt x="477" y="307"/>
                  </a:cubicBezTo>
                  <a:cubicBezTo>
                    <a:pt x="477" y="413"/>
                    <a:pt x="426" y="495"/>
                    <a:pt x="321" y="495"/>
                  </a:cubicBezTo>
                  <a:cubicBezTo>
                    <a:pt x="220" y="495"/>
                    <a:pt x="162" y="415"/>
                    <a:pt x="162" y="307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" name="Freeform 16"/>
            <p:cNvSpPr>
              <a:spLocks noChangeAspect="1"/>
            </p:cNvSpPr>
            <p:nvPr/>
          </p:nvSpPr>
          <p:spPr bwMode="gray">
            <a:xfrm>
              <a:off x="3892" y="2758"/>
              <a:ext cx="409" cy="570"/>
            </a:xfrm>
            <a:custGeom>
              <a:avLst/>
              <a:gdLst/>
              <a:ahLst/>
              <a:cxnLst>
                <a:cxn ang="0">
                  <a:pos x="377" y="128"/>
                </a:cxn>
                <a:cxn ang="0">
                  <a:pos x="377" y="128"/>
                </a:cxn>
                <a:cxn ang="0">
                  <a:pos x="270" y="114"/>
                </a:cxn>
                <a:cxn ang="0">
                  <a:pos x="163" y="160"/>
                </a:cxn>
                <a:cxn ang="0">
                  <a:pos x="290" y="260"/>
                </a:cxn>
                <a:cxn ang="0">
                  <a:pos x="441" y="443"/>
                </a:cxn>
                <a:cxn ang="0">
                  <a:pos x="187" y="621"/>
                </a:cxn>
                <a:cxn ang="0">
                  <a:pos x="11" y="594"/>
                </a:cxn>
                <a:cxn ang="0">
                  <a:pos x="11" y="469"/>
                </a:cxn>
                <a:cxn ang="0">
                  <a:pos x="193" y="506"/>
                </a:cxn>
                <a:cxn ang="0">
                  <a:pos x="279" y="448"/>
                </a:cxn>
                <a:cxn ang="0">
                  <a:pos x="153" y="349"/>
                </a:cxn>
                <a:cxn ang="0">
                  <a:pos x="0" y="160"/>
                </a:cxn>
                <a:cxn ang="0">
                  <a:pos x="243" y="0"/>
                </a:cxn>
                <a:cxn ang="0">
                  <a:pos x="377" y="10"/>
                </a:cxn>
                <a:cxn ang="0">
                  <a:pos x="377" y="128"/>
                </a:cxn>
              </a:cxnLst>
              <a:rect l="0" t="0" r="r" b="b"/>
              <a:pathLst>
                <a:path w="441" h="621">
                  <a:moveTo>
                    <a:pt x="377" y="128"/>
                  </a:moveTo>
                  <a:lnTo>
                    <a:pt x="377" y="128"/>
                  </a:lnTo>
                  <a:cubicBezTo>
                    <a:pt x="341" y="122"/>
                    <a:pt x="306" y="114"/>
                    <a:pt x="270" y="114"/>
                  </a:cubicBezTo>
                  <a:cubicBezTo>
                    <a:pt x="207" y="114"/>
                    <a:pt x="163" y="129"/>
                    <a:pt x="163" y="160"/>
                  </a:cubicBezTo>
                  <a:cubicBezTo>
                    <a:pt x="163" y="195"/>
                    <a:pt x="223" y="224"/>
                    <a:pt x="290" y="260"/>
                  </a:cubicBezTo>
                  <a:cubicBezTo>
                    <a:pt x="353" y="294"/>
                    <a:pt x="441" y="340"/>
                    <a:pt x="441" y="443"/>
                  </a:cubicBezTo>
                  <a:cubicBezTo>
                    <a:pt x="441" y="557"/>
                    <a:pt x="340" y="621"/>
                    <a:pt x="187" y="621"/>
                  </a:cubicBezTo>
                  <a:cubicBezTo>
                    <a:pt x="117" y="621"/>
                    <a:pt x="69" y="607"/>
                    <a:pt x="11" y="594"/>
                  </a:cubicBezTo>
                  <a:lnTo>
                    <a:pt x="11" y="469"/>
                  </a:lnTo>
                  <a:cubicBezTo>
                    <a:pt x="56" y="482"/>
                    <a:pt x="128" y="506"/>
                    <a:pt x="193" y="506"/>
                  </a:cubicBezTo>
                  <a:cubicBezTo>
                    <a:pt x="236" y="506"/>
                    <a:pt x="279" y="487"/>
                    <a:pt x="279" y="448"/>
                  </a:cubicBezTo>
                  <a:cubicBezTo>
                    <a:pt x="279" y="412"/>
                    <a:pt x="227" y="391"/>
                    <a:pt x="153" y="349"/>
                  </a:cubicBezTo>
                  <a:cubicBezTo>
                    <a:pt x="86" y="316"/>
                    <a:pt x="0" y="247"/>
                    <a:pt x="0" y="160"/>
                  </a:cubicBezTo>
                  <a:cubicBezTo>
                    <a:pt x="0" y="57"/>
                    <a:pt x="104" y="0"/>
                    <a:pt x="243" y="0"/>
                  </a:cubicBezTo>
                  <a:cubicBezTo>
                    <a:pt x="288" y="0"/>
                    <a:pt x="333" y="4"/>
                    <a:pt x="377" y="10"/>
                  </a:cubicBezTo>
                  <a:lnTo>
                    <a:pt x="377" y="128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" name="Freeform 17"/>
            <p:cNvSpPr>
              <a:spLocks noChangeAspect="1"/>
            </p:cNvSpPr>
            <p:nvPr/>
          </p:nvSpPr>
          <p:spPr bwMode="gray">
            <a:xfrm>
              <a:off x="1772" y="2564"/>
              <a:ext cx="215" cy="743"/>
            </a:xfrm>
            <a:custGeom>
              <a:avLst/>
              <a:gdLst/>
              <a:ahLst/>
              <a:cxnLst>
                <a:cxn ang="0">
                  <a:pos x="18" y="817"/>
                </a:cxn>
                <a:cxn ang="0">
                  <a:pos x="18" y="817"/>
                </a:cxn>
                <a:cxn ang="0">
                  <a:pos x="24" y="606"/>
                </a:cxn>
                <a:cxn ang="0">
                  <a:pos x="24" y="287"/>
                </a:cxn>
                <a:cxn ang="0">
                  <a:pos x="0" y="0"/>
                </a:cxn>
                <a:cxn ang="0">
                  <a:pos x="211" y="0"/>
                </a:cxn>
                <a:cxn ang="0">
                  <a:pos x="205" y="232"/>
                </a:cxn>
                <a:cxn ang="0">
                  <a:pos x="205" y="530"/>
                </a:cxn>
                <a:cxn ang="0">
                  <a:pos x="229" y="817"/>
                </a:cxn>
                <a:cxn ang="0">
                  <a:pos x="18" y="817"/>
                </a:cxn>
              </a:cxnLst>
              <a:rect l="0" t="0" r="r" b="b"/>
              <a:pathLst>
                <a:path w="229" h="817">
                  <a:moveTo>
                    <a:pt x="18" y="817"/>
                  </a:moveTo>
                  <a:lnTo>
                    <a:pt x="18" y="817"/>
                  </a:lnTo>
                  <a:cubicBezTo>
                    <a:pt x="22" y="750"/>
                    <a:pt x="24" y="699"/>
                    <a:pt x="24" y="606"/>
                  </a:cubicBezTo>
                  <a:lnTo>
                    <a:pt x="24" y="287"/>
                  </a:lnTo>
                  <a:cubicBezTo>
                    <a:pt x="24" y="172"/>
                    <a:pt x="17" y="85"/>
                    <a:pt x="0" y="0"/>
                  </a:cubicBezTo>
                  <a:lnTo>
                    <a:pt x="211" y="0"/>
                  </a:lnTo>
                  <a:cubicBezTo>
                    <a:pt x="211" y="59"/>
                    <a:pt x="205" y="140"/>
                    <a:pt x="205" y="232"/>
                  </a:cubicBezTo>
                  <a:lnTo>
                    <a:pt x="205" y="530"/>
                  </a:lnTo>
                  <a:cubicBezTo>
                    <a:pt x="205" y="614"/>
                    <a:pt x="218" y="739"/>
                    <a:pt x="229" y="817"/>
                  </a:cubicBezTo>
                  <a:lnTo>
                    <a:pt x="18" y="817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" name="Freeform 18"/>
            <p:cNvSpPr>
              <a:spLocks noChangeAspect="1" noEditPoints="1"/>
            </p:cNvSpPr>
            <p:nvPr/>
          </p:nvSpPr>
          <p:spPr bwMode="gray">
            <a:xfrm>
              <a:off x="2095" y="2758"/>
              <a:ext cx="602" cy="785"/>
            </a:xfrm>
            <a:custGeom>
              <a:avLst/>
              <a:gdLst/>
              <a:ahLst/>
              <a:cxnLst>
                <a:cxn ang="0">
                  <a:pos x="210" y="851"/>
                </a:cxn>
                <a:cxn ang="0">
                  <a:pos x="210" y="851"/>
                </a:cxn>
                <a:cxn ang="0">
                  <a:pos x="198" y="632"/>
                </a:cxn>
                <a:cxn ang="0">
                  <a:pos x="198" y="564"/>
                </a:cxn>
                <a:cxn ang="0">
                  <a:pos x="385" y="621"/>
                </a:cxn>
                <a:cxn ang="0">
                  <a:pos x="662" y="322"/>
                </a:cxn>
                <a:cxn ang="0">
                  <a:pos x="378" y="0"/>
                </a:cxn>
                <a:cxn ang="0">
                  <a:pos x="174" y="98"/>
                </a:cxn>
                <a:cxn ang="0">
                  <a:pos x="153" y="15"/>
                </a:cxn>
                <a:cxn ang="0">
                  <a:pos x="0" y="26"/>
                </a:cxn>
                <a:cxn ang="0">
                  <a:pos x="36" y="323"/>
                </a:cxn>
                <a:cxn ang="0">
                  <a:pos x="36" y="564"/>
                </a:cxn>
                <a:cxn ang="0">
                  <a:pos x="12" y="863"/>
                </a:cxn>
                <a:cxn ang="0">
                  <a:pos x="210" y="851"/>
                </a:cxn>
                <a:cxn ang="0">
                  <a:pos x="210" y="851"/>
                </a:cxn>
                <a:cxn ang="0">
                  <a:pos x="186" y="323"/>
                </a:cxn>
                <a:cxn ang="0">
                  <a:pos x="186" y="323"/>
                </a:cxn>
                <a:cxn ang="0">
                  <a:pos x="338" y="125"/>
                </a:cxn>
                <a:cxn ang="0">
                  <a:pos x="500" y="323"/>
                </a:cxn>
                <a:cxn ang="0">
                  <a:pos x="345" y="495"/>
                </a:cxn>
                <a:cxn ang="0">
                  <a:pos x="186" y="323"/>
                </a:cxn>
              </a:cxnLst>
              <a:rect l="0" t="0" r="r" b="b"/>
              <a:pathLst>
                <a:path w="662" h="863">
                  <a:moveTo>
                    <a:pt x="210" y="851"/>
                  </a:moveTo>
                  <a:lnTo>
                    <a:pt x="210" y="851"/>
                  </a:lnTo>
                  <a:cubicBezTo>
                    <a:pt x="198" y="763"/>
                    <a:pt x="198" y="664"/>
                    <a:pt x="198" y="632"/>
                  </a:cubicBezTo>
                  <a:lnTo>
                    <a:pt x="198" y="564"/>
                  </a:lnTo>
                  <a:cubicBezTo>
                    <a:pt x="242" y="589"/>
                    <a:pt x="288" y="621"/>
                    <a:pt x="385" y="621"/>
                  </a:cubicBezTo>
                  <a:cubicBezTo>
                    <a:pt x="550" y="621"/>
                    <a:pt x="662" y="495"/>
                    <a:pt x="662" y="322"/>
                  </a:cubicBezTo>
                  <a:cubicBezTo>
                    <a:pt x="662" y="134"/>
                    <a:pt x="546" y="0"/>
                    <a:pt x="378" y="0"/>
                  </a:cubicBezTo>
                  <a:cubicBezTo>
                    <a:pt x="261" y="0"/>
                    <a:pt x="213" y="56"/>
                    <a:pt x="174" y="98"/>
                  </a:cubicBezTo>
                  <a:cubicBezTo>
                    <a:pt x="166" y="67"/>
                    <a:pt x="162" y="41"/>
                    <a:pt x="153" y="15"/>
                  </a:cubicBezTo>
                  <a:lnTo>
                    <a:pt x="0" y="26"/>
                  </a:lnTo>
                  <a:cubicBezTo>
                    <a:pt x="19" y="127"/>
                    <a:pt x="36" y="220"/>
                    <a:pt x="36" y="323"/>
                  </a:cubicBezTo>
                  <a:lnTo>
                    <a:pt x="36" y="564"/>
                  </a:lnTo>
                  <a:cubicBezTo>
                    <a:pt x="36" y="648"/>
                    <a:pt x="18" y="808"/>
                    <a:pt x="12" y="863"/>
                  </a:cubicBezTo>
                  <a:lnTo>
                    <a:pt x="210" y="851"/>
                  </a:lnTo>
                  <a:lnTo>
                    <a:pt x="210" y="851"/>
                  </a:lnTo>
                  <a:close/>
                  <a:moveTo>
                    <a:pt x="186" y="323"/>
                  </a:moveTo>
                  <a:lnTo>
                    <a:pt x="186" y="323"/>
                  </a:lnTo>
                  <a:cubicBezTo>
                    <a:pt x="186" y="206"/>
                    <a:pt x="236" y="125"/>
                    <a:pt x="338" y="125"/>
                  </a:cubicBezTo>
                  <a:cubicBezTo>
                    <a:pt x="433" y="125"/>
                    <a:pt x="500" y="207"/>
                    <a:pt x="500" y="323"/>
                  </a:cubicBezTo>
                  <a:cubicBezTo>
                    <a:pt x="500" y="426"/>
                    <a:pt x="448" y="495"/>
                    <a:pt x="345" y="495"/>
                  </a:cubicBezTo>
                  <a:cubicBezTo>
                    <a:pt x="244" y="495"/>
                    <a:pt x="186" y="437"/>
                    <a:pt x="186" y="323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" name="Freeform 19"/>
            <p:cNvSpPr>
              <a:spLocks noChangeAspect="1"/>
            </p:cNvSpPr>
            <p:nvPr/>
          </p:nvSpPr>
          <p:spPr bwMode="gray">
            <a:xfrm>
              <a:off x="2773" y="2758"/>
              <a:ext cx="398" cy="570"/>
            </a:xfrm>
            <a:custGeom>
              <a:avLst/>
              <a:gdLst/>
              <a:ahLst/>
              <a:cxnLst>
                <a:cxn ang="0">
                  <a:pos x="364" y="126"/>
                </a:cxn>
                <a:cxn ang="0">
                  <a:pos x="364" y="126"/>
                </a:cxn>
                <a:cxn ang="0">
                  <a:pos x="270" y="114"/>
                </a:cxn>
                <a:cxn ang="0">
                  <a:pos x="162" y="160"/>
                </a:cxn>
                <a:cxn ang="0">
                  <a:pos x="289" y="260"/>
                </a:cxn>
                <a:cxn ang="0">
                  <a:pos x="440" y="443"/>
                </a:cxn>
                <a:cxn ang="0">
                  <a:pos x="186" y="621"/>
                </a:cxn>
                <a:cxn ang="0">
                  <a:pos x="11" y="594"/>
                </a:cxn>
                <a:cxn ang="0">
                  <a:pos x="11" y="469"/>
                </a:cxn>
                <a:cxn ang="0">
                  <a:pos x="192" y="506"/>
                </a:cxn>
                <a:cxn ang="0">
                  <a:pos x="278" y="448"/>
                </a:cxn>
                <a:cxn ang="0">
                  <a:pos x="152" y="349"/>
                </a:cxn>
                <a:cxn ang="0">
                  <a:pos x="0" y="160"/>
                </a:cxn>
                <a:cxn ang="0">
                  <a:pos x="242" y="0"/>
                </a:cxn>
                <a:cxn ang="0">
                  <a:pos x="387" y="12"/>
                </a:cxn>
                <a:cxn ang="0">
                  <a:pos x="364" y="126"/>
                </a:cxn>
              </a:cxnLst>
              <a:rect l="0" t="0" r="r" b="b"/>
              <a:pathLst>
                <a:path w="440" h="621">
                  <a:moveTo>
                    <a:pt x="364" y="126"/>
                  </a:moveTo>
                  <a:lnTo>
                    <a:pt x="364" y="126"/>
                  </a:lnTo>
                  <a:cubicBezTo>
                    <a:pt x="328" y="120"/>
                    <a:pt x="306" y="114"/>
                    <a:pt x="270" y="114"/>
                  </a:cubicBezTo>
                  <a:cubicBezTo>
                    <a:pt x="206" y="114"/>
                    <a:pt x="162" y="129"/>
                    <a:pt x="162" y="160"/>
                  </a:cubicBezTo>
                  <a:cubicBezTo>
                    <a:pt x="162" y="195"/>
                    <a:pt x="222" y="224"/>
                    <a:pt x="289" y="260"/>
                  </a:cubicBezTo>
                  <a:cubicBezTo>
                    <a:pt x="353" y="294"/>
                    <a:pt x="440" y="340"/>
                    <a:pt x="440" y="443"/>
                  </a:cubicBezTo>
                  <a:cubicBezTo>
                    <a:pt x="440" y="557"/>
                    <a:pt x="339" y="621"/>
                    <a:pt x="186" y="621"/>
                  </a:cubicBezTo>
                  <a:cubicBezTo>
                    <a:pt x="116" y="621"/>
                    <a:pt x="68" y="607"/>
                    <a:pt x="11" y="594"/>
                  </a:cubicBezTo>
                  <a:lnTo>
                    <a:pt x="11" y="469"/>
                  </a:lnTo>
                  <a:cubicBezTo>
                    <a:pt x="55" y="482"/>
                    <a:pt x="127" y="506"/>
                    <a:pt x="192" y="506"/>
                  </a:cubicBezTo>
                  <a:cubicBezTo>
                    <a:pt x="235" y="506"/>
                    <a:pt x="278" y="487"/>
                    <a:pt x="278" y="448"/>
                  </a:cubicBezTo>
                  <a:cubicBezTo>
                    <a:pt x="278" y="412"/>
                    <a:pt x="227" y="391"/>
                    <a:pt x="152" y="349"/>
                  </a:cubicBezTo>
                  <a:cubicBezTo>
                    <a:pt x="85" y="316"/>
                    <a:pt x="0" y="247"/>
                    <a:pt x="0" y="160"/>
                  </a:cubicBezTo>
                  <a:cubicBezTo>
                    <a:pt x="0" y="57"/>
                    <a:pt x="103" y="0"/>
                    <a:pt x="242" y="0"/>
                  </a:cubicBezTo>
                  <a:cubicBezTo>
                    <a:pt x="288" y="0"/>
                    <a:pt x="342" y="6"/>
                    <a:pt x="387" y="12"/>
                  </a:cubicBezTo>
                  <a:lnTo>
                    <a:pt x="364" y="126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63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86769" y="6566400"/>
            <a:ext cx="4799375" cy="184666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64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808014" y="6566400"/>
            <a:ext cx="182742" cy="184666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lvl1pPr algn="r">
              <a:defRPr sz="1200" b="1">
                <a:solidFill>
                  <a:schemeClr val="bg1"/>
                </a:solidFill>
                <a:latin typeface="+mn-lt"/>
              </a:defRPr>
            </a:lvl1pPr>
          </a:lstStyle>
          <a:p>
            <a:fld id="{99DB18A3-D21F-4BB0-9E84-DFB029941648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" name="Freeform 2"/>
          <p:cNvSpPr>
            <a:spLocks/>
          </p:cNvSpPr>
          <p:nvPr userDrawn="1"/>
        </p:nvSpPr>
        <p:spPr bwMode="grayWhite">
          <a:xfrm>
            <a:off x="8774559" y="0"/>
            <a:ext cx="3415855" cy="1905000"/>
          </a:xfrm>
          <a:custGeom>
            <a:avLst/>
            <a:gdLst>
              <a:gd name="T0" fmla="*/ 4304 w 4304"/>
              <a:gd name="T1" fmla="*/ 0 h 3200"/>
              <a:gd name="T2" fmla="*/ 13 w 4304"/>
              <a:gd name="T3" fmla="*/ 0 h 3200"/>
              <a:gd name="T4" fmla="*/ 0 w 4304"/>
              <a:gd name="T5" fmla="*/ 252 h 3200"/>
              <a:gd name="T6" fmla="*/ 2945 w 4304"/>
              <a:gd name="T7" fmla="*/ 3200 h 3200"/>
              <a:gd name="T8" fmla="*/ 4304 w 4304"/>
              <a:gd name="T9" fmla="*/ 2867 h 3200"/>
              <a:gd name="T10" fmla="*/ 4304 w 4304"/>
              <a:gd name="T11" fmla="*/ 0 h 3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304" h="3200">
                <a:moveTo>
                  <a:pt x="4304" y="0"/>
                </a:moveTo>
                <a:cubicBezTo>
                  <a:pt x="13" y="0"/>
                  <a:pt x="13" y="0"/>
                  <a:pt x="13" y="0"/>
                </a:cubicBezTo>
                <a:cubicBezTo>
                  <a:pt x="7" y="82"/>
                  <a:pt x="0" y="164"/>
                  <a:pt x="0" y="252"/>
                </a:cubicBezTo>
                <a:cubicBezTo>
                  <a:pt x="0" y="1878"/>
                  <a:pt x="1322" y="3200"/>
                  <a:pt x="2945" y="3200"/>
                </a:cubicBezTo>
                <a:cubicBezTo>
                  <a:pt x="3436" y="3200"/>
                  <a:pt x="3895" y="3081"/>
                  <a:pt x="4304" y="2867"/>
                </a:cubicBezTo>
                <a:lnTo>
                  <a:pt x="430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Oval 3"/>
          <p:cNvSpPr>
            <a:spLocks noChangeArrowheads="1"/>
          </p:cNvSpPr>
          <p:nvPr userDrawn="1"/>
        </p:nvSpPr>
        <p:spPr bwMode="grayWhite">
          <a:xfrm>
            <a:off x="973540" y="1889126"/>
            <a:ext cx="2029620" cy="1522413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Line 4"/>
          <p:cNvSpPr>
            <a:spLocks noChangeShapeType="1"/>
          </p:cNvSpPr>
          <p:nvPr userDrawn="1"/>
        </p:nvSpPr>
        <p:spPr bwMode="grayWhite">
          <a:xfrm flipH="1" flipV="1">
            <a:off x="5056060" y="0"/>
            <a:ext cx="3796806" cy="468313"/>
          </a:xfrm>
          <a:prstGeom prst="line">
            <a:avLst/>
          </a:prstGeom>
          <a:noFill/>
          <a:ln w="12700">
            <a:solidFill>
              <a:srgbClr val="FFFFFF">
                <a:alpha val="50000"/>
              </a:srgb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Line 5"/>
          <p:cNvSpPr>
            <a:spLocks noChangeShapeType="1"/>
          </p:cNvSpPr>
          <p:nvPr userDrawn="1"/>
        </p:nvSpPr>
        <p:spPr bwMode="grayWhite">
          <a:xfrm flipH="1" flipV="1">
            <a:off x="2548136" y="1"/>
            <a:ext cx="6304730" cy="601663"/>
          </a:xfrm>
          <a:prstGeom prst="line">
            <a:avLst/>
          </a:prstGeom>
          <a:noFill/>
          <a:ln w="12700">
            <a:solidFill>
              <a:srgbClr val="FFFFFF">
                <a:alpha val="50000"/>
              </a:srgb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grayWhite">
          <a:xfrm>
            <a:off x="2946017" y="1136651"/>
            <a:ext cx="6262402" cy="1312863"/>
          </a:xfrm>
          <a:custGeom>
            <a:avLst/>
            <a:gdLst>
              <a:gd name="T0" fmla="*/ 0 w 2959"/>
              <a:gd name="T1" fmla="*/ 827 h 827"/>
              <a:gd name="T2" fmla="*/ 1432 w 2959"/>
              <a:gd name="T3" fmla="*/ 279 h 827"/>
              <a:gd name="T4" fmla="*/ 2959 w 2959"/>
              <a:gd name="T5" fmla="*/ 0 h 8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959" h="827">
                <a:moveTo>
                  <a:pt x="0" y="827"/>
                </a:moveTo>
                <a:cubicBezTo>
                  <a:pt x="239" y="736"/>
                  <a:pt x="939" y="417"/>
                  <a:pt x="1432" y="279"/>
                </a:cubicBezTo>
                <a:cubicBezTo>
                  <a:pt x="1925" y="141"/>
                  <a:pt x="2641" y="58"/>
                  <a:pt x="2959" y="0"/>
                </a:cubicBezTo>
              </a:path>
            </a:pathLst>
          </a:custGeom>
          <a:noFill/>
          <a:ln w="12700" cmpd="sng">
            <a:solidFill>
              <a:srgbClr val="FFFFFF">
                <a:alpha val="50000"/>
              </a:srgb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" name="Inhaltsplatzhalter 2"/>
          <p:cNvSpPr>
            <a:spLocks noGrp="1"/>
          </p:cNvSpPr>
          <p:nvPr>
            <p:ph idx="1" hasCustomPrompt="1"/>
          </p:nvPr>
        </p:nvSpPr>
        <p:spPr>
          <a:xfrm>
            <a:off x="4333636" y="2538000"/>
            <a:ext cx="7679000" cy="3776400"/>
          </a:xfrm>
          <a:prstGeom prst="rect">
            <a:avLst/>
          </a:prstGeom>
        </p:spPr>
        <p:txBody>
          <a:bodyPr lIns="0" tIns="0" rIns="0" bIns="0"/>
          <a:lstStyle>
            <a:lvl1pPr marL="182563" indent="-182563">
              <a:lnSpc>
                <a:spcPct val="100000"/>
              </a:lnSpc>
              <a:spcBef>
                <a:spcPts val="800"/>
              </a:spcBef>
              <a:buFont typeface="Arial" pitchFamily="34" charset="0"/>
              <a:buChar char="•"/>
              <a:defRPr sz="1800">
                <a:solidFill>
                  <a:schemeClr val="bg1"/>
                </a:solidFill>
                <a:latin typeface="+mn-lt"/>
              </a:defRPr>
            </a:lvl1pPr>
            <a:lvl2pPr marL="358775" indent="-176213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Font typeface="Calibri" pitchFamily="34" charset="0"/>
              <a:buChar char="─"/>
              <a:defRPr sz="1600">
                <a:solidFill>
                  <a:schemeClr val="bg1"/>
                </a:solidFill>
                <a:latin typeface="+mn-lt"/>
              </a:defRPr>
            </a:lvl2pPr>
            <a:lvl3pPr marL="538163" indent="-179388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Font typeface="Wingdings" pitchFamily="2" charset="2"/>
              <a:buChar char="§"/>
              <a:defRPr sz="1400">
                <a:solidFill>
                  <a:schemeClr val="bg1"/>
                </a:solidFill>
                <a:latin typeface="+mn-lt"/>
              </a:defRPr>
            </a:lvl3pPr>
            <a:lvl4pPr marL="717550" indent="-179388">
              <a:lnSpc>
                <a:spcPct val="100000"/>
              </a:lnSpc>
              <a:spcBef>
                <a:spcPts val="800"/>
              </a:spcBef>
              <a:defRPr sz="1200">
                <a:solidFill>
                  <a:schemeClr val="bg1"/>
                </a:solidFill>
                <a:latin typeface="+mn-lt"/>
              </a:defRPr>
            </a:lvl4pPr>
            <a:lvl5pPr marL="896938" indent="-179388">
              <a:lnSpc>
                <a:spcPct val="100000"/>
              </a:lnSpc>
              <a:spcBef>
                <a:spcPts val="800"/>
              </a:spcBef>
              <a:buFont typeface="Calibri" pitchFamily="34" charset="0"/>
              <a:buChar char="─"/>
              <a:defRPr sz="10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sz="1200" noProof="0" dirty="0"/>
              <a:t>Fourth level</a:t>
            </a:r>
          </a:p>
          <a:p>
            <a:pPr lvl="4"/>
            <a:r>
              <a:rPr lang="en-US" sz="1000" noProof="0" dirty="0"/>
              <a:t>Fifth level</a:t>
            </a:r>
            <a:endParaRPr lang="en-US" noProof="0" dirty="0"/>
          </a:p>
          <a:p>
            <a:pPr lvl="3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480804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3347" y="174202"/>
            <a:ext cx="10881684" cy="4431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algn="l">
              <a:lnSpc>
                <a:spcPct val="90000"/>
              </a:lnSpc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9" name="Freeform 34"/>
          <p:cNvSpPr>
            <a:spLocks/>
          </p:cNvSpPr>
          <p:nvPr userDrawn="1"/>
        </p:nvSpPr>
        <p:spPr bwMode="auto">
          <a:xfrm>
            <a:off x="10922695" y="1311277"/>
            <a:ext cx="1267718" cy="1949451"/>
          </a:xfrm>
          <a:custGeom>
            <a:avLst/>
            <a:gdLst>
              <a:gd name="T0" fmla="*/ 304 w 304"/>
              <a:gd name="T1" fmla="*/ 1 h 588"/>
              <a:gd name="T2" fmla="*/ 294 w 304"/>
              <a:gd name="T3" fmla="*/ 0 h 588"/>
              <a:gd name="T4" fmla="*/ 0 w 304"/>
              <a:gd name="T5" fmla="*/ 294 h 588"/>
              <a:gd name="T6" fmla="*/ 294 w 304"/>
              <a:gd name="T7" fmla="*/ 588 h 588"/>
              <a:gd name="T8" fmla="*/ 304 w 304"/>
              <a:gd name="T9" fmla="*/ 588 h 588"/>
              <a:gd name="T10" fmla="*/ 304 w 304"/>
              <a:gd name="T11" fmla="*/ 1 h 5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04" h="588">
                <a:moveTo>
                  <a:pt x="304" y="1"/>
                </a:moveTo>
                <a:cubicBezTo>
                  <a:pt x="301" y="1"/>
                  <a:pt x="298" y="0"/>
                  <a:pt x="294" y="0"/>
                </a:cubicBezTo>
                <a:cubicBezTo>
                  <a:pt x="132" y="0"/>
                  <a:pt x="0" y="132"/>
                  <a:pt x="0" y="294"/>
                </a:cubicBezTo>
                <a:cubicBezTo>
                  <a:pt x="0" y="457"/>
                  <a:pt x="132" y="588"/>
                  <a:pt x="294" y="588"/>
                </a:cubicBezTo>
                <a:cubicBezTo>
                  <a:pt x="298" y="588"/>
                  <a:pt x="301" y="588"/>
                  <a:pt x="304" y="588"/>
                </a:cubicBezTo>
                <a:lnTo>
                  <a:pt x="304" y="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121904" tIns="60952" rIns="121904" bIns="60952" numCol="1" anchor="t" anchorCtr="0" compatLnSpc="1">
            <a:prstTxWarp prst="textNoShape">
              <a:avLst/>
            </a:prstTxWarp>
          </a:bodyPr>
          <a:lstStyle/>
          <a:p>
            <a:endParaRPr lang="en-US" sz="2666"/>
          </a:p>
        </p:txBody>
      </p:sp>
      <p:sp>
        <p:nvSpPr>
          <p:cNvPr id="40" name="Freeform 35"/>
          <p:cNvSpPr>
            <a:spLocks/>
          </p:cNvSpPr>
          <p:nvPr userDrawn="1"/>
        </p:nvSpPr>
        <p:spPr bwMode="auto">
          <a:xfrm>
            <a:off x="11792533" y="803274"/>
            <a:ext cx="397881" cy="584200"/>
          </a:xfrm>
          <a:custGeom>
            <a:avLst/>
            <a:gdLst>
              <a:gd name="T0" fmla="*/ 104 w 104"/>
              <a:gd name="T1" fmla="*/ 0 h 193"/>
              <a:gd name="T2" fmla="*/ 0 w 104"/>
              <a:gd name="T3" fmla="*/ 144 h 193"/>
              <a:gd name="T4" fmla="*/ 8 w 104"/>
              <a:gd name="T5" fmla="*/ 193 h 193"/>
              <a:gd name="T6" fmla="*/ 94 w 104"/>
              <a:gd name="T7" fmla="*/ 180 h 193"/>
              <a:gd name="T8" fmla="*/ 104 w 104"/>
              <a:gd name="T9" fmla="*/ 181 h 193"/>
              <a:gd name="T10" fmla="*/ 104 w 104"/>
              <a:gd name="T11" fmla="*/ 0 h 1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4" h="193">
                <a:moveTo>
                  <a:pt x="104" y="0"/>
                </a:moveTo>
                <a:cubicBezTo>
                  <a:pt x="44" y="21"/>
                  <a:pt x="0" y="77"/>
                  <a:pt x="0" y="144"/>
                </a:cubicBezTo>
                <a:cubicBezTo>
                  <a:pt x="0" y="162"/>
                  <a:pt x="3" y="178"/>
                  <a:pt x="8" y="193"/>
                </a:cubicBezTo>
                <a:cubicBezTo>
                  <a:pt x="36" y="185"/>
                  <a:pt x="65" y="180"/>
                  <a:pt x="94" y="180"/>
                </a:cubicBezTo>
                <a:cubicBezTo>
                  <a:pt x="98" y="180"/>
                  <a:pt x="101" y="181"/>
                  <a:pt x="104" y="181"/>
                </a:cubicBezTo>
                <a:lnTo>
                  <a:pt x="104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121904" tIns="60952" rIns="121904" bIns="60952" numCol="1" anchor="t" anchorCtr="0" compatLnSpc="1">
            <a:prstTxWarp prst="textNoShape">
              <a:avLst/>
            </a:prstTxWarp>
          </a:bodyPr>
          <a:lstStyle/>
          <a:p>
            <a:endParaRPr lang="en-US" sz="2666"/>
          </a:p>
        </p:txBody>
      </p:sp>
      <p:sp>
        <p:nvSpPr>
          <p:cNvPr id="41" name="Freeform 36"/>
          <p:cNvSpPr>
            <a:spLocks/>
          </p:cNvSpPr>
          <p:nvPr userDrawn="1"/>
        </p:nvSpPr>
        <p:spPr bwMode="auto">
          <a:xfrm>
            <a:off x="7515308" y="3"/>
            <a:ext cx="4287808" cy="1200151"/>
          </a:xfrm>
          <a:custGeom>
            <a:avLst/>
            <a:gdLst>
              <a:gd name="T0" fmla="*/ 2026 w 2026"/>
              <a:gd name="T1" fmla="*/ 756 h 756"/>
              <a:gd name="T2" fmla="*/ 1054 w 2026"/>
              <a:gd name="T3" fmla="*/ 272 h 756"/>
              <a:gd name="T4" fmla="*/ 0 w 2026"/>
              <a:gd name="T5" fmla="*/ 0 h 7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026" h="756">
                <a:moveTo>
                  <a:pt x="2026" y="756"/>
                </a:moveTo>
                <a:cubicBezTo>
                  <a:pt x="1709" y="577"/>
                  <a:pt x="1392" y="398"/>
                  <a:pt x="1054" y="272"/>
                </a:cubicBezTo>
                <a:cubicBezTo>
                  <a:pt x="716" y="146"/>
                  <a:pt x="358" y="73"/>
                  <a:pt x="0" y="0"/>
                </a:cubicBezTo>
              </a:path>
            </a:pathLst>
          </a:custGeom>
          <a:noFill/>
          <a:ln w="19050" cmpd="sng">
            <a:solidFill>
              <a:srgbClr val="008E94">
                <a:alpha val="20000"/>
              </a:srgb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04" tIns="60952" rIns="121904" bIns="60952" numCol="1" anchor="t" anchorCtr="0" compatLnSpc="1">
            <a:prstTxWarp prst="textNoShape">
              <a:avLst/>
            </a:prstTxWarp>
          </a:bodyPr>
          <a:lstStyle/>
          <a:p>
            <a:endParaRPr lang="en-US" sz="2666"/>
          </a:p>
        </p:txBody>
      </p:sp>
      <p:sp>
        <p:nvSpPr>
          <p:cNvPr id="42" name="Freeform 37"/>
          <p:cNvSpPr>
            <a:spLocks/>
          </p:cNvSpPr>
          <p:nvPr userDrawn="1"/>
        </p:nvSpPr>
        <p:spPr bwMode="auto">
          <a:xfrm>
            <a:off x="1536504" y="6553200"/>
            <a:ext cx="1597876" cy="304800"/>
          </a:xfrm>
          <a:custGeom>
            <a:avLst/>
            <a:gdLst>
              <a:gd name="T0" fmla="*/ 368 w 368"/>
              <a:gd name="T1" fmla="*/ 104 h 104"/>
              <a:gd name="T2" fmla="*/ 184 w 368"/>
              <a:gd name="T3" fmla="*/ 0 h 104"/>
              <a:gd name="T4" fmla="*/ 0 w 368"/>
              <a:gd name="T5" fmla="*/ 104 h 104"/>
              <a:gd name="T6" fmla="*/ 368 w 368"/>
              <a:gd name="T7" fmla="*/ 104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68" h="104">
                <a:moveTo>
                  <a:pt x="368" y="104"/>
                </a:moveTo>
                <a:cubicBezTo>
                  <a:pt x="330" y="42"/>
                  <a:pt x="262" y="0"/>
                  <a:pt x="184" y="0"/>
                </a:cubicBezTo>
                <a:cubicBezTo>
                  <a:pt x="106" y="0"/>
                  <a:pt x="38" y="42"/>
                  <a:pt x="0" y="104"/>
                </a:cubicBezTo>
                <a:lnTo>
                  <a:pt x="368" y="10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121904" tIns="60952" rIns="121904" bIns="60952" numCol="1" anchor="t" anchorCtr="0" compatLnSpc="1">
            <a:prstTxWarp prst="textNoShape">
              <a:avLst/>
            </a:prstTxWarp>
          </a:bodyPr>
          <a:lstStyle/>
          <a:p>
            <a:endParaRPr lang="en-US" sz="2666"/>
          </a:p>
        </p:txBody>
      </p:sp>
      <p:sp>
        <p:nvSpPr>
          <p:cNvPr id="43" name="Freeform 38"/>
          <p:cNvSpPr>
            <a:spLocks/>
          </p:cNvSpPr>
          <p:nvPr userDrawn="1"/>
        </p:nvSpPr>
        <p:spPr bwMode="auto">
          <a:xfrm>
            <a:off x="2" y="4794252"/>
            <a:ext cx="1570362" cy="2019301"/>
          </a:xfrm>
          <a:custGeom>
            <a:avLst/>
            <a:gdLst>
              <a:gd name="T0" fmla="*/ 742 w 742"/>
              <a:gd name="T1" fmla="*/ 1272 h 1272"/>
              <a:gd name="T2" fmla="*/ 684 w 742"/>
              <a:gd name="T3" fmla="*/ 1220 h 1272"/>
              <a:gd name="T4" fmla="*/ 576 w 742"/>
              <a:gd name="T5" fmla="*/ 1110 h 1272"/>
              <a:gd name="T6" fmla="*/ 454 w 742"/>
              <a:gd name="T7" fmla="*/ 970 h 1272"/>
              <a:gd name="T8" fmla="*/ 356 w 742"/>
              <a:gd name="T9" fmla="*/ 826 h 1272"/>
              <a:gd name="T10" fmla="*/ 266 w 742"/>
              <a:gd name="T11" fmla="*/ 674 h 1272"/>
              <a:gd name="T12" fmla="*/ 186 w 742"/>
              <a:gd name="T13" fmla="*/ 512 h 1272"/>
              <a:gd name="T14" fmla="*/ 112 w 742"/>
              <a:gd name="T15" fmla="*/ 330 h 1272"/>
              <a:gd name="T16" fmla="*/ 0 w 742"/>
              <a:gd name="T17" fmla="*/ 0 h 12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42" h="1272">
                <a:moveTo>
                  <a:pt x="742" y="1272"/>
                </a:moveTo>
                <a:cubicBezTo>
                  <a:pt x="727" y="1259"/>
                  <a:pt x="712" y="1247"/>
                  <a:pt x="684" y="1220"/>
                </a:cubicBezTo>
                <a:cubicBezTo>
                  <a:pt x="656" y="1193"/>
                  <a:pt x="614" y="1152"/>
                  <a:pt x="576" y="1110"/>
                </a:cubicBezTo>
                <a:cubicBezTo>
                  <a:pt x="538" y="1068"/>
                  <a:pt x="491" y="1017"/>
                  <a:pt x="454" y="970"/>
                </a:cubicBezTo>
                <a:cubicBezTo>
                  <a:pt x="417" y="923"/>
                  <a:pt x="387" y="875"/>
                  <a:pt x="356" y="826"/>
                </a:cubicBezTo>
                <a:cubicBezTo>
                  <a:pt x="325" y="777"/>
                  <a:pt x="294" y="726"/>
                  <a:pt x="266" y="674"/>
                </a:cubicBezTo>
                <a:cubicBezTo>
                  <a:pt x="238" y="622"/>
                  <a:pt x="212" y="569"/>
                  <a:pt x="186" y="512"/>
                </a:cubicBezTo>
                <a:cubicBezTo>
                  <a:pt x="160" y="455"/>
                  <a:pt x="143" y="415"/>
                  <a:pt x="112" y="330"/>
                </a:cubicBezTo>
                <a:cubicBezTo>
                  <a:pt x="81" y="245"/>
                  <a:pt x="19" y="55"/>
                  <a:pt x="0" y="0"/>
                </a:cubicBezTo>
              </a:path>
            </a:pathLst>
          </a:custGeom>
          <a:noFill/>
          <a:ln w="19050" cmpd="sng">
            <a:solidFill>
              <a:srgbClr val="008E94">
                <a:alpha val="20000"/>
              </a:srgb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04" tIns="60952" rIns="121904" bIns="60952" numCol="1" anchor="t" anchorCtr="0" compatLnSpc="1">
            <a:prstTxWarp prst="textNoShape">
              <a:avLst/>
            </a:prstTxWarp>
          </a:bodyPr>
          <a:lstStyle/>
          <a:p>
            <a:endParaRPr lang="en-US" sz="2666"/>
          </a:p>
        </p:txBody>
      </p:sp>
      <p:sp>
        <p:nvSpPr>
          <p:cNvPr id="44" name="TextBox 43"/>
          <p:cNvSpPr txBox="1"/>
          <p:nvPr userDrawn="1"/>
        </p:nvSpPr>
        <p:spPr>
          <a:xfrm>
            <a:off x="11566729" y="6535452"/>
            <a:ext cx="385042" cy="2769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768494C-3139-4E38-AECA-A4FFFD303794}" type="slidenum">
              <a:rPr lang="nl-NL" sz="1333" smtClean="0"/>
              <a:pPr/>
              <a:t>‹#›</a:t>
            </a:fld>
            <a:endParaRPr lang="nl-NL" sz="1333" dirty="0"/>
          </a:p>
        </p:txBody>
      </p:sp>
      <p:sp>
        <p:nvSpPr>
          <p:cNvPr id="46" name="Text Placeholder 68"/>
          <p:cNvSpPr>
            <a:spLocks noGrp="1"/>
          </p:cNvSpPr>
          <p:nvPr>
            <p:ph type="body" sz="quarter" idx="10"/>
          </p:nvPr>
        </p:nvSpPr>
        <p:spPr>
          <a:xfrm>
            <a:off x="470341" y="979200"/>
            <a:ext cx="10318656" cy="5490000"/>
          </a:xfrm>
          <a:prstGeom prst="rect">
            <a:avLst/>
          </a:prstGeom>
        </p:spPr>
        <p:txBody>
          <a:bodyPr lIns="0" tIns="0" rIns="0" bIns="0"/>
          <a:lstStyle>
            <a:lvl1pPr marL="241259" indent="-241259" algn="l" defTabSz="1218995" rtl="0" eaLnBrk="1" latinLnBrk="0" hangingPunct="1">
              <a:lnSpc>
                <a:spcPct val="90000"/>
              </a:lnSpc>
              <a:spcBef>
                <a:spcPts val="533"/>
              </a:spcBef>
              <a:buClr>
                <a:schemeClr val="tx1"/>
              </a:buClr>
              <a:buFont typeface="Wingdings" pitchFamily="2" charset="2"/>
              <a:buChar char="§"/>
              <a:defRPr lang="en-US" sz="2133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3777" indent="-370355" algn="l" defTabSz="1218995" rtl="0" eaLnBrk="1" latinLnBrk="0" hangingPunct="1">
              <a:lnSpc>
                <a:spcPct val="90000"/>
              </a:lnSpc>
              <a:spcBef>
                <a:spcPts val="533"/>
              </a:spcBef>
              <a:buClr>
                <a:schemeClr val="tx1"/>
              </a:buClr>
              <a:buFont typeface="Wingdings" pitchFamily="2" charset="2"/>
              <a:buChar char="ð"/>
              <a:defRPr lang="en-US" sz="2133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7202" indent="-241259" algn="l" defTabSz="1218995" rtl="0" eaLnBrk="1" latinLnBrk="0" hangingPunct="1">
              <a:lnSpc>
                <a:spcPct val="90000"/>
              </a:lnSpc>
              <a:spcBef>
                <a:spcPts val="533"/>
              </a:spcBef>
              <a:buClr>
                <a:schemeClr val="tx1"/>
              </a:buClr>
              <a:buFont typeface="Arial" pitchFamily="34" charset="0"/>
              <a:buChar char="–"/>
              <a:defRPr lang="en-US" sz="1867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buNone/>
              <a:defRPr/>
            </a:lvl4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1172037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1960" y="857958"/>
            <a:ext cx="11527794" cy="61539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11960" y="331098"/>
            <a:ext cx="8956390" cy="590215"/>
          </a:xfrm>
        </p:spPr>
        <p:txBody>
          <a:bodyPr anchor="b"/>
          <a:lstStyle>
            <a:lvl1pPr marL="0" indent="0">
              <a:buNone/>
              <a:defRPr sz="25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99426" y="5620954"/>
            <a:ext cx="8956267" cy="424383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72"/>
              </a:spcBef>
              <a:defRPr sz="1300" cap="none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35480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 bwMode="auto">
          <a:xfrm>
            <a:off x="182873" y="880145"/>
            <a:ext cx="11824701" cy="0"/>
          </a:xfrm>
          <a:prstGeom prst="line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824831" y="6529567"/>
            <a:ext cx="182742" cy="184667"/>
          </a:xfrm>
        </p:spPr>
        <p:txBody>
          <a:bodyPr/>
          <a:lstStyle>
            <a:lvl1pPr>
              <a:defRPr/>
            </a:lvl1pPr>
          </a:lstStyle>
          <a:p>
            <a:fld id="{57F57E2C-CA48-4F4C-AFC2-15F244A93C75}" type="slidenum">
              <a:rPr lang="en-US">
                <a:solidFill>
                  <a:srgbClr val="1F497D"/>
                </a:solidFill>
              </a:rPr>
              <a:pPr/>
              <a:t>‹#›</a:t>
            </a:fld>
            <a:endParaRPr lang="en-US" dirty="0">
              <a:solidFill>
                <a:srgbClr val="1F49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88702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page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" name="Group 4"/>
          <p:cNvGrpSpPr>
            <a:grpSpLocks noChangeAspect="1"/>
          </p:cNvGrpSpPr>
          <p:nvPr userDrawn="1"/>
        </p:nvGrpSpPr>
        <p:grpSpPr bwMode="gray">
          <a:xfrm>
            <a:off x="149062" y="80630"/>
            <a:ext cx="797573" cy="743523"/>
            <a:chOff x="1352" y="681"/>
            <a:chExt cx="3519" cy="3153"/>
          </a:xfrm>
        </p:grpSpPr>
        <p:sp>
          <p:nvSpPr>
            <p:cNvPr id="55" name="Freeform 5"/>
            <p:cNvSpPr>
              <a:spLocks noChangeAspect="1"/>
            </p:cNvSpPr>
            <p:nvPr/>
          </p:nvSpPr>
          <p:spPr bwMode="gray">
            <a:xfrm>
              <a:off x="1352" y="681"/>
              <a:ext cx="3519" cy="3153"/>
            </a:xfrm>
            <a:custGeom>
              <a:avLst/>
              <a:gdLst/>
              <a:ahLst/>
              <a:cxnLst>
                <a:cxn ang="0">
                  <a:pos x="0" y="3449"/>
                </a:cxn>
                <a:cxn ang="0">
                  <a:pos x="0" y="3449"/>
                </a:cxn>
                <a:cxn ang="0">
                  <a:pos x="0" y="0"/>
                </a:cxn>
                <a:cxn ang="0">
                  <a:pos x="3696" y="0"/>
                </a:cxn>
                <a:cxn ang="0">
                  <a:pos x="3327" y="3449"/>
                </a:cxn>
                <a:cxn ang="0">
                  <a:pos x="0" y="3449"/>
                </a:cxn>
              </a:cxnLst>
              <a:rect l="0" t="0" r="r" b="b"/>
              <a:pathLst>
                <a:path w="3862" h="3449">
                  <a:moveTo>
                    <a:pt x="0" y="3449"/>
                  </a:moveTo>
                  <a:lnTo>
                    <a:pt x="0" y="3449"/>
                  </a:lnTo>
                  <a:lnTo>
                    <a:pt x="0" y="0"/>
                  </a:lnTo>
                  <a:lnTo>
                    <a:pt x="3696" y="0"/>
                  </a:lnTo>
                  <a:cubicBezTo>
                    <a:pt x="3862" y="1150"/>
                    <a:pt x="3797" y="2241"/>
                    <a:pt x="3327" y="3449"/>
                  </a:cubicBezTo>
                  <a:lnTo>
                    <a:pt x="0" y="3449"/>
                  </a:lnTo>
                  <a:close/>
                </a:path>
              </a:pathLst>
            </a:custGeom>
            <a:solidFill>
              <a:srgbClr val="009D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800"/>
            </a:p>
          </p:txBody>
        </p:sp>
        <p:sp>
          <p:nvSpPr>
            <p:cNvPr id="56" name="Freeform 6"/>
            <p:cNvSpPr>
              <a:spLocks noChangeAspect="1"/>
            </p:cNvSpPr>
            <p:nvPr/>
          </p:nvSpPr>
          <p:spPr bwMode="gray">
            <a:xfrm>
              <a:off x="2708" y="1843"/>
              <a:ext cx="75" cy="54"/>
            </a:xfrm>
            <a:custGeom>
              <a:avLst/>
              <a:gdLst/>
              <a:ahLst/>
              <a:cxnLst>
                <a:cxn ang="0">
                  <a:pos x="16" y="40"/>
                </a:cxn>
                <a:cxn ang="0">
                  <a:pos x="16" y="40"/>
                </a:cxn>
                <a:cxn ang="0">
                  <a:pos x="0" y="54"/>
                </a:cxn>
                <a:cxn ang="0">
                  <a:pos x="79" y="22"/>
                </a:cxn>
                <a:cxn ang="0">
                  <a:pos x="81" y="0"/>
                </a:cxn>
                <a:cxn ang="0">
                  <a:pos x="16" y="40"/>
                </a:cxn>
              </a:cxnLst>
              <a:rect l="0" t="0" r="r" b="b"/>
              <a:pathLst>
                <a:path w="81" h="66">
                  <a:moveTo>
                    <a:pt x="16" y="40"/>
                  </a:moveTo>
                  <a:lnTo>
                    <a:pt x="16" y="40"/>
                  </a:lnTo>
                  <a:lnTo>
                    <a:pt x="0" y="54"/>
                  </a:lnTo>
                  <a:cubicBezTo>
                    <a:pt x="35" y="66"/>
                    <a:pt x="72" y="42"/>
                    <a:pt x="79" y="22"/>
                  </a:cubicBezTo>
                  <a:lnTo>
                    <a:pt x="81" y="0"/>
                  </a:lnTo>
                  <a:cubicBezTo>
                    <a:pt x="54" y="6"/>
                    <a:pt x="27" y="19"/>
                    <a:pt x="16" y="40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800"/>
            </a:p>
          </p:txBody>
        </p:sp>
        <p:sp>
          <p:nvSpPr>
            <p:cNvPr id="57" name="Freeform 7"/>
            <p:cNvSpPr>
              <a:spLocks noChangeAspect="1"/>
            </p:cNvSpPr>
            <p:nvPr/>
          </p:nvSpPr>
          <p:spPr bwMode="gray">
            <a:xfrm>
              <a:off x="2869" y="1972"/>
              <a:ext cx="65" cy="54"/>
            </a:xfrm>
            <a:custGeom>
              <a:avLst/>
              <a:gdLst/>
              <a:ahLst/>
              <a:cxnLst>
                <a:cxn ang="0">
                  <a:pos x="27" y="1"/>
                </a:cxn>
                <a:cxn ang="0">
                  <a:pos x="27" y="1"/>
                </a:cxn>
                <a:cxn ang="0">
                  <a:pos x="0" y="0"/>
                </a:cxn>
                <a:cxn ang="0">
                  <a:pos x="33" y="58"/>
                </a:cxn>
                <a:cxn ang="0">
                  <a:pos x="53" y="63"/>
                </a:cxn>
                <a:cxn ang="0">
                  <a:pos x="27" y="1"/>
                </a:cxn>
              </a:cxnLst>
              <a:rect l="0" t="0" r="r" b="b"/>
              <a:pathLst>
                <a:path w="81" h="63">
                  <a:moveTo>
                    <a:pt x="27" y="1"/>
                  </a:moveTo>
                  <a:lnTo>
                    <a:pt x="27" y="1"/>
                  </a:lnTo>
                  <a:lnTo>
                    <a:pt x="0" y="0"/>
                  </a:lnTo>
                  <a:cubicBezTo>
                    <a:pt x="0" y="24"/>
                    <a:pt x="8" y="43"/>
                    <a:pt x="33" y="58"/>
                  </a:cubicBezTo>
                  <a:lnTo>
                    <a:pt x="53" y="63"/>
                  </a:lnTo>
                  <a:cubicBezTo>
                    <a:pt x="81" y="39"/>
                    <a:pt x="44" y="15"/>
                    <a:pt x="27" y="1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800"/>
            </a:p>
          </p:txBody>
        </p:sp>
        <p:sp>
          <p:nvSpPr>
            <p:cNvPr id="58" name="Freeform 8"/>
            <p:cNvSpPr>
              <a:spLocks noChangeAspect="1"/>
            </p:cNvSpPr>
            <p:nvPr/>
          </p:nvSpPr>
          <p:spPr bwMode="gray">
            <a:xfrm>
              <a:off x="2622" y="1413"/>
              <a:ext cx="86" cy="75"/>
            </a:xfrm>
            <a:custGeom>
              <a:avLst/>
              <a:gdLst/>
              <a:ahLst/>
              <a:cxnLst>
                <a:cxn ang="0">
                  <a:pos x="20" y="50"/>
                </a:cxn>
                <a:cxn ang="0">
                  <a:pos x="20" y="50"/>
                </a:cxn>
                <a:cxn ang="0">
                  <a:pos x="0" y="64"/>
                </a:cxn>
                <a:cxn ang="0">
                  <a:pos x="89" y="27"/>
                </a:cxn>
                <a:cxn ang="0">
                  <a:pos x="96" y="0"/>
                </a:cxn>
                <a:cxn ang="0">
                  <a:pos x="20" y="50"/>
                </a:cxn>
              </a:cxnLst>
              <a:rect l="0" t="0" r="r" b="b"/>
              <a:pathLst>
                <a:path w="96" h="79">
                  <a:moveTo>
                    <a:pt x="20" y="50"/>
                  </a:moveTo>
                  <a:lnTo>
                    <a:pt x="20" y="50"/>
                  </a:lnTo>
                  <a:lnTo>
                    <a:pt x="0" y="64"/>
                  </a:lnTo>
                  <a:cubicBezTo>
                    <a:pt x="41" y="79"/>
                    <a:pt x="75" y="57"/>
                    <a:pt x="89" y="27"/>
                  </a:cubicBezTo>
                  <a:lnTo>
                    <a:pt x="96" y="0"/>
                  </a:lnTo>
                  <a:cubicBezTo>
                    <a:pt x="63" y="8"/>
                    <a:pt x="38" y="8"/>
                    <a:pt x="20" y="50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800"/>
            </a:p>
          </p:txBody>
        </p:sp>
        <p:sp>
          <p:nvSpPr>
            <p:cNvPr id="59" name="Freeform 9"/>
            <p:cNvSpPr>
              <a:spLocks noChangeAspect="1"/>
            </p:cNvSpPr>
            <p:nvPr/>
          </p:nvSpPr>
          <p:spPr bwMode="gray">
            <a:xfrm>
              <a:off x="2568" y="1563"/>
              <a:ext cx="75" cy="76"/>
            </a:xfrm>
            <a:custGeom>
              <a:avLst/>
              <a:gdLst/>
              <a:ahLst/>
              <a:cxnLst>
                <a:cxn ang="0">
                  <a:pos x="77" y="22"/>
                </a:cxn>
                <a:cxn ang="0">
                  <a:pos x="77" y="22"/>
                </a:cxn>
                <a:cxn ang="0">
                  <a:pos x="71" y="0"/>
                </a:cxn>
                <a:cxn ang="0">
                  <a:pos x="0" y="44"/>
                </a:cxn>
                <a:cxn ang="0">
                  <a:pos x="0" y="62"/>
                </a:cxn>
                <a:cxn ang="0">
                  <a:pos x="77" y="22"/>
                </a:cxn>
              </a:cxnLst>
              <a:rect l="0" t="0" r="r" b="b"/>
              <a:pathLst>
                <a:path w="77" h="77">
                  <a:moveTo>
                    <a:pt x="77" y="22"/>
                  </a:moveTo>
                  <a:lnTo>
                    <a:pt x="77" y="22"/>
                  </a:lnTo>
                  <a:lnTo>
                    <a:pt x="71" y="0"/>
                  </a:lnTo>
                  <a:cubicBezTo>
                    <a:pt x="38" y="7"/>
                    <a:pt x="14" y="19"/>
                    <a:pt x="0" y="44"/>
                  </a:cubicBezTo>
                  <a:lnTo>
                    <a:pt x="0" y="62"/>
                  </a:lnTo>
                  <a:cubicBezTo>
                    <a:pt x="42" y="77"/>
                    <a:pt x="64" y="40"/>
                    <a:pt x="77" y="22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800"/>
            </a:p>
          </p:txBody>
        </p:sp>
        <p:sp>
          <p:nvSpPr>
            <p:cNvPr id="60" name="Freeform 10"/>
            <p:cNvSpPr>
              <a:spLocks noChangeAspect="1"/>
            </p:cNvSpPr>
            <p:nvPr/>
          </p:nvSpPr>
          <p:spPr bwMode="gray">
            <a:xfrm>
              <a:off x="2547" y="1725"/>
              <a:ext cx="86" cy="64"/>
            </a:xfrm>
            <a:custGeom>
              <a:avLst/>
              <a:gdLst/>
              <a:ahLst/>
              <a:cxnLst>
                <a:cxn ang="0">
                  <a:pos x="0" y="52"/>
                </a:cxn>
                <a:cxn ang="0">
                  <a:pos x="0" y="52"/>
                </a:cxn>
                <a:cxn ang="0">
                  <a:pos x="14" y="60"/>
                </a:cxn>
                <a:cxn ang="0">
                  <a:pos x="73" y="23"/>
                </a:cxn>
                <a:cxn ang="0">
                  <a:pos x="90" y="8"/>
                </a:cxn>
                <a:cxn ang="0">
                  <a:pos x="0" y="52"/>
                </a:cxn>
              </a:cxnLst>
              <a:rect l="0" t="0" r="r" b="b"/>
              <a:pathLst>
                <a:path w="90" h="74">
                  <a:moveTo>
                    <a:pt x="0" y="52"/>
                  </a:moveTo>
                  <a:lnTo>
                    <a:pt x="0" y="52"/>
                  </a:lnTo>
                  <a:lnTo>
                    <a:pt x="14" y="60"/>
                  </a:lnTo>
                  <a:cubicBezTo>
                    <a:pt x="59" y="74"/>
                    <a:pt x="62" y="38"/>
                    <a:pt x="73" y="23"/>
                  </a:cubicBezTo>
                  <a:lnTo>
                    <a:pt x="90" y="8"/>
                  </a:lnTo>
                  <a:cubicBezTo>
                    <a:pt x="48" y="0"/>
                    <a:pt x="11" y="31"/>
                    <a:pt x="0" y="52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800"/>
            </a:p>
          </p:txBody>
        </p:sp>
        <p:sp>
          <p:nvSpPr>
            <p:cNvPr id="61" name="Freeform 11"/>
            <p:cNvSpPr>
              <a:spLocks noChangeAspect="1"/>
            </p:cNvSpPr>
            <p:nvPr/>
          </p:nvSpPr>
          <p:spPr bwMode="gray">
            <a:xfrm>
              <a:off x="2773" y="1176"/>
              <a:ext cx="86" cy="75"/>
            </a:xfrm>
            <a:custGeom>
              <a:avLst/>
              <a:gdLst/>
              <a:ahLst/>
              <a:cxnLst>
                <a:cxn ang="0">
                  <a:pos x="16" y="4"/>
                </a:cxn>
                <a:cxn ang="0">
                  <a:pos x="16" y="4"/>
                </a:cxn>
                <a:cxn ang="0">
                  <a:pos x="0" y="12"/>
                </a:cxn>
                <a:cxn ang="0">
                  <a:pos x="86" y="49"/>
                </a:cxn>
                <a:cxn ang="0">
                  <a:pos x="88" y="22"/>
                </a:cxn>
                <a:cxn ang="0">
                  <a:pos x="16" y="4"/>
                </a:cxn>
              </a:cxnLst>
              <a:rect l="0" t="0" r="r" b="b"/>
              <a:pathLst>
                <a:path w="88" h="72">
                  <a:moveTo>
                    <a:pt x="16" y="4"/>
                  </a:moveTo>
                  <a:lnTo>
                    <a:pt x="16" y="4"/>
                  </a:lnTo>
                  <a:lnTo>
                    <a:pt x="0" y="12"/>
                  </a:lnTo>
                  <a:cubicBezTo>
                    <a:pt x="4" y="40"/>
                    <a:pt x="70" y="72"/>
                    <a:pt x="86" y="49"/>
                  </a:cubicBezTo>
                  <a:lnTo>
                    <a:pt x="88" y="22"/>
                  </a:lnTo>
                  <a:cubicBezTo>
                    <a:pt x="67" y="8"/>
                    <a:pt x="45" y="0"/>
                    <a:pt x="16" y="4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800"/>
            </a:p>
          </p:txBody>
        </p:sp>
        <p:sp>
          <p:nvSpPr>
            <p:cNvPr id="62" name="Freeform 12"/>
            <p:cNvSpPr>
              <a:spLocks noChangeAspect="1"/>
            </p:cNvSpPr>
            <p:nvPr/>
          </p:nvSpPr>
          <p:spPr bwMode="gray">
            <a:xfrm>
              <a:off x="2955" y="1111"/>
              <a:ext cx="76" cy="87"/>
            </a:xfrm>
            <a:custGeom>
              <a:avLst/>
              <a:gdLst/>
              <a:ahLst/>
              <a:cxnLst>
                <a:cxn ang="0">
                  <a:pos x="46" y="7"/>
                </a:cxn>
                <a:cxn ang="0">
                  <a:pos x="46" y="7"/>
                </a:cxn>
                <a:cxn ang="0">
                  <a:pos x="21" y="0"/>
                </a:cxn>
                <a:cxn ang="0">
                  <a:pos x="14" y="66"/>
                </a:cxn>
                <a:cxn ang="0">
                  <a:pos x="27" y="92"/>
                </a:cxn>
                <a:cxn ang="0">
                  <a:pos x="46" y="7"/>
                </a:cxn>
              </a:cxnLst>
              <a:rect l="0" t="0" r="r" b="b"/>
              <a:pathLst>
                <a:path w="86" h="92">
                  <a:moveTo>
                    <a:pt x="46" y="7"/>
                  </a:moveTo>
                  <a:lnTo>
                    <a:pt x="46" y="7"/>
                  </a:lnTo>
                  <a:lnTo>
                    <a:pt x="21" y="0"/>
                  </a:lnTo>
                  <a:cubicBezTo>
                    <a:pt x="7" y="19"/>
                    <a:pt x="0" y="33"/>
                    <a:pt x="14" y="66"/>
                  </a:cubicBezTo>
                  <a:lnTo>
                    <a:pt x="27" y="92"/>
                  </a:lnTo>
                  <a:cubicBezTo>
                    <a:pt x="57" y="63"/>
                    <a:pt x="86" y="36"/>
                    <a:pt x="46" y="7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800"/>
            </a:p>
          </p:txBody>
        </p:sp>
        <p:sp>
          <p:nvSpPr>
            <p:cNvPr id="63" name="Freeform 13"/>
            <p:cNvSpPr>
              <a:spLocks noChangeAspect="1" noEditPoints="1"/>
            </p:cNvSpPr>
            <p:nvPr/>
          </p:nvSpPr>
          <p:spPr bwMode="gray">
            <a:xfrm>
              <a:off x="3149" y="929"/>
              <a:ext cx="667" cy="1678"/>
            </a:xfrm>
            <a:custGeom>
              <a:avLst/>
              <a:gdLst/>
              <a:ahLst/>
              <a:cxnLst>
                <a:cxn ang="0">
                  <a:pos x="451" y="808"/>
                </a:cxn>
                <a:cxn ang="0">
                  <a:pos x="451" y="808"/>
                </a:cxn>
                <a:cxn ang="0">
                  <a:pos x="326" y="776"/>
                </a:cxn>
                <a:cxn ang="0">
                  <a:pos x="477" y="746"/>
                </a:cxn>
                <a:cxn ang="0">
                  <a:pos x="493" y="773"/>
                </a:cxn>
                <a:cxn ang="0">
                  <a:pos x="451" y="808"/>
                </a:cxn>
                <a:cxn ang="0">
                  <a:pos x="451" y="808"/>
                </a:cxn>
                <a:cxn ang="0">
                  <a:pos x="639" y="841"/>
                </a:cxn>
                <a:cxn ang="0">
                  <a:pos x="639" y="841"/>
                </a:cxn>
                <a:cxn ang="0">
                  <a:pos x="601" y="701"/>
                </a:cxn>
                <a:cxn ang="0">
                  <a:pos x="634" y="646"/>
                </a:cxn>
                <a:cxn ang="0">
                  <a:pos x="627" y="477"/>
                </a:cxn>
                <a:cxn ang="0">
                  <a:pos x="641" y="463"/>
                </a:cxn>
                <a:cxn ang="0">
                  <a:pos x="627" y="414"/>
                </a:cxn>
                <a:cxn ang="0">
                  <a:pos x="615" y="342"/>
                </a:cxn>
                <a:cxn ang="0">
                  <a:pos x="590" y="286"/>
                </a:cxn>
                <a:cxn ang="0">
                  <a:pos x="602" y="260"/>
                </a:cxn>
                <a:cxn ang="0">
                  <a:pos x="560" y="236"/>
                </a:cxn>
                <a:cxn ang="0">
                  <a:pos x="523" y="213"/>
                </a:cxn>
                <a:cxn ang="0">
                  <a:pos x="514" y="180"/>
                </a:cxn>
                <a:cxn ang="0">
                  <a:pos x="483" y="195"/>
                </a:cxn>
                <a:cxn ang="0">
                  <a:pos x="476" y="154"/>
                </a:cxn>
                <a:cxn ang="0">
                  <a:pos x="434" y="171"/>
                </a:cxn>
                <a:cxn ang="0">
                  <a:pos x="411" y="119"/>
                </a:cxn>
                <a:cxn ang="0">
                  <a:pos x="389" y="124"/>
                </a:cxn>
                <a:cxn ang="0">
                  <a:pos x="356" y="150"/>
                </a:cxn>
                <a:cxn ang="0">
                  <a:pos x="356" y="101"/>
                </a:cxn>
                <a:cxn ang="0">
                  <a:pos x="341" y="93"/>
                </a:cxn>
                <a:cxn ang="0">
                  <a:pos x="314" y="81"/>
                </a:cxn>
                <a:cxn ang="0">
                  <a:pos x="276" y="97"/>
                </a:cxn>
                <a:cxn ang="0">
                  <a:pos x="292" y="51"/>
                </a:cxn>
                <a:cxn ang="0">
                  <a:pos x="244" y="106"/>
                </a:cxn>
                <a:cxn ang="0">
                  <a:pos x="216" y="112"/>
                </a:cxn>
                <a:cxn ang="0">
                  <a:pos x="266" y="43"/>
                </a:cxn>
                <a:cxn ang="0">
                  <a:pos x="214" y="91"/>
                </a:cxn>
                <a:cxn ang="0">
                  <a:pos x="173" y="98"/>
                </a:cxn>
                <a:cxn ang="0">
                  <a:pos x="186" y="38"/>
                </a:cxn>
                <a:cxn ang="0">
                  <a:pos x="173" y="69"/>
                </a:cxn>
                <a:cxn ang="0">
                  <a:pos x="166" y="36"/>
                </a:cxn>
                <a:cxn ang="0">
                  <a:pos x="142" y="114"/>
                </a:cxn>
                <a:cxn ang="0">
                  <a:pos x="126" y="39"/>
                </a:cxn>
                <a:cxn ang="0">
                  <a:pos x="80" y="112"/>
                </a:cxn>
                <a:cxn ang="0">
                  <a:pos x="56" y="117"/>
                </a:cxn>
                <a:cxn ang="0">
                  <a:pos x="37" y="43"/>
                </a:cxn>
                <a:cxn ang="0">
                  <a:pos x="5" y="1808"/>
                </a:cxn>
                <a:cxn ang="0">
                  <a:pos x="0" y="1840"/>
                </a:cxn>
                <a:cxn ang="0">
                  <a:pos x="162" y="1823"/>
                </a:cxn>
                <a:cxn ang="0">
                  <a:pos x="529" y="1842"/>
                </a:cxn>
                <a:cxn ang="0">
                  <a:pos x="614" y="1829"/>
                </a:cxn>
                <a:cxn ang="0">
                  <a:pos x="421" y="1778"/>
                </a:cxn>
                <a:cxn ang="0">
                  <a:pos x="272" y="1664"/>
                </a:cxn>
                <a:cxn ang="0">
                  <a:pos x="237" y="1566"/>
                </a:cxn>
                <a:cxn ang="0">
                  <a:pos x="239" y="1432"/>
                </a:cxn>
                <a:cxn ang="0">
                  <a:pos x="315" y="1404"/>
                </a:cxn>
                <a:cxn ang="0">
                  <a:pos x="586" y="1387"/>
                </a:cxn>
                <a:cxn ang="0">
                  <a:pos x="605" y="1286"/>
                </a:cxn>
                <a:cxn ang="0">
                  <a:pos x="609" y="1223"/>
                </a:cxn>
                <a:cxn ang="0">
                  <a:pos x="630" y="1174"/>
                </a:cxn>
                <a:cxn ang="0">
                  <a:pos x="590" y="1133"/>
                </a:cxn>
                <a:cxn ang="0">
                  <a:pos x="650" y="1082"/>
                </a:cxn>
                <a:cxn ang="0">
                  <a:pos x="621" y="1018"/>
                </a:cxn>
                <a:cxn ang="0">
                  <a:pos x="704" y="959"/>
                </a:cxn>
                <a:cxn ang="0">
                  <a:pos x="639" y="841"/>
                </a:cxn>
              </a:cxnLst>
              <a:rect l="0" t="0" r="r" b="b"/>
              <a:pathLst>
                <a:path w="724" h="1845">
                  <a:moveTo>
                    <a:pt x="451" y="808"/>
                  </a:moveTo>
                  <a:lnTo>
                    <a:pt x="451" y="808"/>
                  </a:lnTo>
                  <a:cubicBezTo>
                    <a:pt x="397" y="820"/>
                    <a:pt x="315" y="783"/>
                    <a:pt x="326" y="776"/>
                  </a:cubicBezTo>
                  <a:cubicBezTo>
                    <a:pt x="353" y="757"/>
                    <a:pt x="416" y="725"/>
                    <a:pt x="477" y="746"/>
                  </a:cubicBezTo>
                  <a:cubicBezTo>
                    <a:pt x="488" y="750"/>
                    <a:pt x="492" y="760"/>
                    <a:pt x="493" y="773"/>
                  </a:cubicBezTo>
                  <a:cubicBezTo>
                    <a:pt x="496" y="804"/>
                    <a:pt x="471" y="805"/>
                    <a:pt x="451" y="808"/>
                  </a:cubicBezTo>
                  <a:lnTo>
                    <a:pt x="451" y="808"/>
                  </a:lnTo>
                  <a:close/>
                  <a:moveTo>
                    <a:pt x="639" y="841"/>
                  </a:moveTo>
                  <a:lnTo>
                    <a:pt x="639" y="841"/>
                  </a:lnTo>
                  <a:cubicBezTo>
                    <a:pt x="610" y="803"/>
                    <a:pt x="557" y="751"/>
                    <a:pt x="601" y="701"/>
                  </a:cubicBezTo>
                  <a:cubicBezTo>
                    <a:pt x="624" y="684"/>
                    <a:pt x="631" y="670"/>
                    <a:pt x="634" y="646"/>
                  </a:cubicBezTo>
                  <a:cubicBezTo>
                    <a:pt x="644" y="560"/>
                    <a:pt x="639" y="524"/>
                    <a:pt x="627" y="477"/>
                  </a:cubicBezTo>
                  <a:cubicBezTo>
                    <a:pt x="629" y="473"/>
                    <a:pt x="638" y="478"/>
                    <a:pt x="641" y="463"/>
                  </a:cubicBezTo>
                  <a:cubicBezTo>
                    <a:pt x="650" y="422"/>
                    <a:pt x="627" y="414"/>
                    <a:pt x="627" y="414"/>
                  </a:cubicBezTo>
                  <a:cubicBezTo>
                    <a:pt x="645" y="399"/>
                    <a:pt x="643" y="342"/>
                    <a:pt x="615" y="342"/>
                  </a:cubicBezTo>
                  <a:cubicBezTo>
                    <a:pt x="631" y="317"/>
                    <a:pt x="617" y="277"/>
                    <a:pt x="590" y="286"/>
                  </a:cubicBezTo>
                  <a:cubicBezTo>
                    <a:pt x="590" y="286"/>
                    <a:pt x="604" y="278"/>
                    <a:pt x="602" y="260"/>
                  </a:cubicBezTo>
                  <a:cubicBezTo>
                    <a:pt x="599" y="224"/>
                    <a:pt x="547" y="259"/>
                    <a:pt x="560" y="236"/>
                  </a:cubicBezTo>
                  <a:cubicBezTo>
                    <a:pt x="567" y="223"/>
                    <a:pt x="538" y="180"/>
                    <a:pt x="523" y="213"/>
                  </a:cubicBezTo>
                  <a:cubicBezTo>
                    <a:pt x="515" y="207"/>
                    <a:pt x="529" y="187"/>
                    <a:pt x="514" y="180"/>
                  </a:cubicBezTo>
                  <a:cubicBezTo>
                    <a:pt x="504" y="181"/>
                    <a:pt x="495" y="188"/>
                    <a:pt x="483" y="195"/>
                  </a:cubicBezTo>
                  <a:cubicBezTo>
                    <a:pt x="479" y="181"/>
                    <a:pt x="494" y="174"/>
                    <a:pt x="476" y="154"/>
                  </a:cubicBezTo>
                  <a:cubicBezTo>
                    <a:pt x="452" y="138"/>
                    <a:pt x="451" y="162"/>
                    <a:pt x="434" y="171"/>
                  </a:cubicBezTo>
                  <a:cubicBezTo>
                    <a:pt x="404" y="164"/>
                    <a:pt x="476" y="146"/>
                    <a:pt x="411" y="119"/>
                  </a:cubicBezTo>
                  <a:cubicBezTo>
                    <a:pt x="395" y="159"/>
                    <a:pt x="396" y="130"/>
                    <a:pt x="389" y="124"/>
                  </a:cubicBezTo>
                  <a:cubicBezTo>
                    <a:pt x="384" y="121"/>
                    <a:pt x="375" y="131"/>
                    <a:pt x="356" y="150"/>
                  </a:cubicBezTo>
                  <a:cubicBezTo>
                    <a:pt x="366" y="124"/>
                    <a:pt x="388" y="92"/>
                    <a:pt x="356" y="101"/>
                  </a:cubicBezTo>
                  <a:cubicBezTo>
                    <a:pt x="320" y="117"/>
                    <a:pt x="341" y="96"/>
                    <a:pt x="341" y="93"/>
                  </a:cubicBezTo>
                  <a:cubicBezTo>
                    <a:pt x="372" y="79"/>
                    <a:pt x="312" y="45"/>
                    <a:pt x="314" y="81"/>
                  </a:cubicBezTo>
                  <a:cubicBezTo>
                    <a:pt x="313" y="105"/>
                    <a:pt x="261" y="126"/>
                    <a:pt x="276" y="97"/>
                  </a:cubicBezTo>
                  <a:cubicBezTo>
                    <a:pt x="286" y="60"/>
                    <a:pt x="331" y="116"/>
                    <a:pt x="292" y="51"/>
                  </a:cubicBezTo>
                  <a:cubicBezTo>
                    <a:pt x="268" y="78"/>
                    <a:pt x="248" y="96"/>
                    <a:pt x="244" y="106"/>
                  </a:cubicBezTo>
                  <a:cubicBezTo>
                    <a:pt x="225" y="181"/>
                    <a:pt x="236" y="113"/>
                    <a:pt x="216" y="112"/>
                  </a:cubicBezTo>
                  <a:cubicBezTo>
                    <a:pt x="242" y="94"/>
                    <a:pt x="276" y="63"/>
                    <a:pt x="266" y="43"/>
                  </a:cubicBezTo>
                  <a:cubicBezTo>
                    <a:pt x="237" y="41"/>
                    <a:pt x="172" y="87"/>
                    <a:pt x="214" y="91"/>
                  </a:cubicBezTo>
                  <a:cubicBezTo>
                    <a:pt x="211" y="106"/>
                    <a:pt x="187" y="123"/>
                    <a:pt x="173" y="98"/>
                  </a:cubicBezTo>
                  <a:cubicBezTo>
                    <a:pt x="196" y="92"/>
                    <a:pt x="235" y="15"/>
                    <a:pt x="186" y="38"/>
                  </a:cubicBezTo>
                  <a:cubicBezTo>
                    <a:pt x="181" y="42"/>
                    <a:pt x="181" y="56"/>
                    <a:pt x="173" y="69"/>
                  </a:cubicBezTo>
                  <a:cubicBezTo>
                    <a:pt x="161" y="58"/>
                    <a:pt x="170" y="42"/>
                    <a:pt x="166" y="36"/>
                  </a:cubicBezTo>
                  <a:cubicBezTo>
                    <a:pt x="127" y="0"/>
                    <a:pt x="141" y="93"/>
                    <a:pt x="142" y="114"/>
                  </a:cubicBezTo>
                  <a:cubicBezTo>
                    <a:pt x="92" y="82"/>
                    <a:pt x="139" y="91"/>
                    <a:pt x="126" y="39"/>
                  </a:cubicBezTo>
                  <a:cubicBezTo>
                    <a:pt x="84" y="47"/>
                    <a:pt x="73" y="64"/>
                    <a:pt x="80" y="112"/>
                  </a:cubicBezTo>
                  <a:cubicBezTo>
                    <a:pt x="74" y="123"/>
                    <a:pt x="63" y="149"/>
                    <a:pt x="56" y="117"/>
                  </a:cubicBezTo>
                  <a:cubicBezTo>
                    <a:pt x="79" y="87"/>
                    <a:pt x="77" y="44"/>
                    <a:pt x="37" y="43"/>
                  </a:cubicBezTo>
                  <a:cubicBezTo>
                    <a:pt x="101" y="631"/>
                    <a:pt x="97" y="1225"/>
                    <a:pt x="5" y="1808"/>
                  </a:cubicBezTo>
                  <a:lnTo>
                    <a:pt x="0" y="1840"/>
                  </a:lnTo>
                  <a:cubicBezTo>
                    <a:pt x="46" y="1839"/>
                    <a:pt x="113" y="1825"/>
                    <a:pt x="162" y="1823"/>
                  </a:cubicBezTo>
                  <a:cubicBezTo>
                    <a:pt x="301" y="1827"/>
                    <a:pt x="298" y="1845"/>
                    <a:pt x="529" y="1842"/>
                  </a:cubicBezTo>
                  <a:cubicBezTo>
                    <a:pt x="582" y="1837"/>
                    <a:pt x="597" y="1829"/>
                    <a:pt x="614" y="1829"/>
                  </a:cubicBezTo>
                  <a:cubicBezTo>
                    <a:pt x="597" y="1758"/>
                    <a:pt x="481" y="1798"/>
                    <a:pt x="421" y="1778"/>
                  </a:cubicBezTo>
                  <a:cubicBezTo>
                    <a:pt x="321" y="1768"/>
                    <a:pt x="304" y="1708"/>
                    <a:pt x="272" y="1664"/>
                  </a:cubicBezTo>
                  <a:cubicBezTo>
                    <a:pt x="258" y="1639"/>
                    <a:pt x="237" y="1608"/>
                    <a:pt x="237" y="1566"/>
                  </a:cubicBezTo>
                  <a:cubicBezTo>
                    <a:pt x="230" y="1513"/>
                    <a:pt x="240" y="1484"/>
                    <a:pt x="239" y="1432"/>
                  </a:cubicBezTo>
                  <a:cubicBezTo>
                    <a:pt x="243" y="1393"/>
                    <a:pt x="287" y="1401"/>
                    <a:pt x="315" y="1404"/>
                  </a:cubicBezTo>
                  <a:cubicBezTo>
                    <a:pt x="402" y="1413"/>
                    <a:pt x="547" y="1399"/>
                    <a:pt x="586" y="1387"/>
                  </a:cubicBezTo>
                  <a:cubicBezTo>
                    <a:pt x="641" y="1371"/>
                    <a:pt x="642" y="1337"/>
                    <a:pt x="605" y="1286"/>
                  </a:cubicBezTo>
                  <a:cubicBezTo>
                    <a:pt x="597" y="1261"/>
                    <a:pt x="598" y="1245"/>
                    <a:pt x="609" y="1223"/>
                  </a:cubicBezTo>
                  <a:cubicBezTo>
                    <a:pt x="625" y="1206"/>
                    <a:pt x="644" y="1195"/>
                    <a:pt x="630" y="1174"/>
                  </a:cubicBezTo>
                  <a:cubicBezTo>
                    <a:pt x="630" y="1174"/>
                    <a:pt x="504" y="1147"/>
                    <a:pt x="590" y="1133"/>
                  </a:cubicBezTo>
                  <a:cubicBezTo>
                    <a:pt x="679" y="1118"/>
                    <a:pt x="650" y="1082"/>
                    <a:pt x="650" y="1082"/>
                  </a:cubicBezTo>
                  <a:cubicBezTo>
                    <a:pt x="650" y="1082"/>
                    <a:pt x="635" y="1045"/>
                    <a:pt x="621" y="1018"/>
                  </a:cubicBezTo>
                  <a:cubicBezTo>
                    <a:pt x="611" y="998"/>
                    <a:pt x="695" y="991"/>
                    <a:pt x="704" y="959"/>
                  </a:cubicBezTo>
                  <a:cubicBezTo>
                    <a:pt x="724" y="932"/>
                    <a:pt x="661" y="871"/>
                    <a:pt x="639" y="841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800"/>
            </a:p>
          </p:txBody>
        </p:sp>
        <p:sp>
          <p:nvSpPr>
            <p:cNvPr id="64" name="Freeform 14"/>
            <p:cNvSpPr>
              <a:spLocks noChangeAspect="1"/>
            </p:cNvSpPr>
            <p:nvPr/>
          </p:nvSpPr>
          <p:spPr bwMode="gray">
            <a:xfrm>
              <a:off x="1352" y="681"/>
              <a:ext cx="1829" cy="3153"/>
            </a:xfrm>
            <a:custGeom>
              <a:avLst/>
              <a:gdLst/>
              <a:ahLst/>
              <a:cxnLst>
                <a:cxn ang="0">
                  <a:pos x="1974" y="2106"/>
                </a:cxn>
                <a:cxn ang="0">
                  <a:pos x="0" y="3449"/>
                </a:cxn>
                <a:cxn ang="0">
                  <a:pos x="1972" y="0"/>
                </a:cxn>
                <a:cxn ang="0">
                  <a:pos x="1980" y="347"/>
                </a:cxn>
                <a:cxn ang="0">
                  <a:pos x="1982" y="392"/>
                </a:cxn>
                <a:cxn ang="0">
                  <a:pos x="1923" y="324"/>
                </a:cxn>
                <a:cxn ang="0">
                  <a:pos x="1878" y="384"/>
                </a:cxn>
                <a:cxn ang="0">
                  <a:pos x="1858" y="411"/>
                </a:cxn>
                <a:cxn ang="0">
                  <a:pos x="1823" y="348"/>
                </a:cxn>
                <a:cxn ang="0">
                  <a:pos x="1766" y="359"/>
                </a:cxn>
                <a:cxn ang="0">
                  <a:pos x="1702" y="494"/>
                </a:cxn>
                <a:cxn ang="0">
                  <a:pos x="1680" y="420"/>
                </a:cxn>
                <a:cxn ang="0">
                  <a:pos x="1605" y="427"/>
                </a:cxn>
                <a:cxn ang="0">
                  <a:pos x="1609" y="499"/>
                </a:cxn>
                <a:cxn ang="0">
                  <a:pos x="1520" y="498"/>
                </a:cxn>
                <a:cxn ang="0">
                  <a:pos x="1513" y="560"/>
                </a:cxn>
                <a:cxn ang="0">
                  <a:pos x="1407" y="521"/>
                </a:cxn>
                <a:cxn ang="0">
                  <a:pos x="1521" y="578"/>
                </a:cxn>
                <a:cxn ang="0">
                  <a:pos x="1453" y="612"/>
                </a:cxn>
                <a:cxn ang="0">
                  <a:pos x="1441" y="603"/>
                </a:cxn>
                <a:cxn ang="0">
                  <a:pos x="1404" y="640"/>
                </a:cxn>
                <a:cxn ang="0">
                  <a:pos x="1448" y="632"/>
                </a:cxn>
                <a:cxn ang="0">
                  <a:pos x="1433" y="703"/>
                </a:cxn>
                <a:cxn ang="0">
                  <a:pos x="1392" y="719"/>
                </a:cxn>
                <a:cxn ang="0">
                  <a:pos x="1410" y="785"/>
                </a:cxn>
                <a:cxn ang="0">
                  <a:pos x="1321" y="761"/>
                </a:cxn>
                <a:cxn ang="0">
                  <a:pos x="1255" y="760"/>
                </a:cxn>
                <a:cxn ang="0">
                  <a:pos x="1205" y="829"/>
                </a:cxn>
                <a:cxn ang="0">
                  <a:pos x="1350" y="845"/>
                </a:cxn>
                <a:cxn ang="0">
                  <a:pos x="1308" y="881"/>
                </a:cxn>
                <a:cxn ang="0">
                  <a:pos x="1308" y="953"/>
                </a:cxn>
                <a:cxn ang="0">
                  <a:pos x="1358" y="951"/>
                </a:cxn>
                <a:cxn ang="0">
                  <a:pos x="1319" y="1061"/>
                </a:cxn>
                <a:cxn ang="0">
                  <a:pos x="1324" y="1115"/>
                </a:cxn>
                <a:cxn ang="0">
                  <a:pos x="1283" y="1185"/>
                </a:cxn>
                <a:cxn ang="0">
                  <a:pos x="1257" y="1226"/>
                </a:cxn>
                <a:cxn ang="0">
                  <a:pos x="1285" y="1267"/>
                </a:cxn>
                <a:cxn ang="0">
                  <a:pos x="1314" y="1311"/>
                </a:cxn>
                <a:cxn ang="0">
                  <a:pos x="1363" y="1376"/>
                </a:cxn>
                <a:cxn ang="0">
                  <a:pos x="1438" y="1413"/>
                </a:cxn>
                <a:cxn ang="0">
                  <a:pos x="1494" y="1379"/>
                </a:cxn>
                <a:cxn ang="0">
                  <a:pos x="1513" y="1471"/>
                </a:cxn>
                <a:cxn ang="0">
                  <a:pos x="1605" y="1474"/>
                </a:cxn>
                <a:cxn ang="0">
                  <a:pos x="1584" y="1525"/>
                </a:cxn>
                <a:cxn ang="0">
                  <a:pos x="1618" y="1559"/>
                </a:cxn>
                <a:cxn ang="0">
                  <a:pos x="1644" y="1602"/>
                </a:cxn>
                <a:cxn ang="0">
                  <a:pos x="1700" y="1594"/>
                </a:cxn>
                <a:cxn ang="0">
                  <a:pos x="1729" y="1535"/>
                </a:cxn>
                <a:cxn ang="0">
                  <a:pos x="1794" y="1574"/>
                </a:cxn>
                <a:cxn ang="0">
                  <a:pos x="1808" y="1711"/>
                </a:cxn>
                <a:cxn ang="0">
                  <a:pos x="1870" y="1688"/>
                </a:cxn>
                <a:cxn ang="0">
                  <a:pos x="1839" y="1844"/>
                </a:cxn>
                <a:cxn ang="0">
                  <a:pos x="1446" y="2092"/>
                </a:cxn>
                <a:cxn ang="0">
                  <a:pos x="1654" y="2103"/>
                </a:cxn>
                <a:cxn ang="0">
                  <a:pos x="1974" y="2105"/>
                </a:cxn>
              </a:cxnLst>
              <a:rect l="0" t="0" r="r" b="b"/>
              <a:pathLst>
                <a:path w="2011" h="3449">
                  <a:moveTo>
                    <a:pt x="1974" y="2106"/>
                  </a:moveTo>
                  <a:lnTo>
                    <a:pt x="1974" y="2106"/>
                  </a:lnTo>
                  <a:cubicBezTo>
                    <a:pt x="1903" y="2543"/>
                    <a:pt x="1782" y="2987"/>
                    <a:pt x="1602" y="3449"/>
                  </a:cubicBezTo>
                  <a:lnTo>
                    <a:pt x="0" y="3449"/>
                  </a:lnTo>
                  <a:lnTo>
                    <a:pt x="0" y="0"/>
                  </a:lnTo>
                  <a:lnTo>
                    <a:pt x="1972" y="0"/>
                  </a:lnTo>
                  <a:cubicBezTo>
                    <a:pt x="1988" y="113"/>
                    <a:pt x="1999" y="197"/>
                    <a:pt x="2011" y="309"/>
                  </a:cubicBezTo>
                  <a:cubicBezTo>
                    <a:pt x="2011" y="309"/>
                    <a:pt x="1977" y="320"/>
                    <a:pt x="1980" y="347"/>
                  </a:cubicBezTo>
                  <a:cubicBezTo>
                    <a:pt x="1984" y="378"/>
                    <a:pt x="1997" y="385"/>
                    <a:pt x="1997" y="385"/>
                  </a:cubicBezTo>
                  <a:lnTo>
                    <a:pt x="1982" y="392"/>
                  </a:lnTo>
                  <a:cubicBezTo>
                    <a:pt x="1982" y="392"/>
                    <a:pt x="1966" y="368"/>
                    <a:pt x="1966" y="369"/>
                  </a:cubicBezTo>
                  <a:cubicBezTo>
                    <a:pt x="1966" y="346"/>
                    <a:pt x="1976" y="311"/>
                    <a:pt x="1923" y="324"/>
                  </a:cubicBezTo>
                  <a:cubicBezTo>
                    <a:pt x="1904" y="365"/>
                    <a:pt x="1952" y="373"/>
                    <a:pt x="1939" y="401"/>
                  </a:cubicBezTo>
                  <a:cubicBezTo>
                    <a:pt x="1883" y="404"/>
                    <a:pt x="1923" y="359"/>
                    <a:pt x="1878" y="384"/>
                  </a:cubicBezTo>
                  <a:cubicBezTo>
                    <a:pt x="1881" y="371"/>
                    <a:pt x="1871" y="336"/>
                    <a:pt x="1857" y="339"/>
                  </a:cubicBezTo>
                  <a:cubicBezTo>
                    <a:pt x="1851" y="358"/>
                    <a:pt x="1836" y="391"/>
                    <a:pt x="1858" y="411"/>
                  </a:cubicBezTo>
                  <a:cubicBezTo>
                    <a:pt x="1851" y="416"/>
                    <a:pt x="1830" y="413"/>
                    <a:pt x="1825" y="406"/>
                  </a:cubicBezTo>
                  <a:cubicBezTo>
                    <a:pt x="1819" y="396"/>
                    <a:pt x="1840" y="379"/>
                    <a:pt x="1823" y="348"/>
                  </a:cubicBezTo>
                  <a:cubicBezTo>
                    <a:pt x="1771" y="371"/>
                    <a:pt x="1819" y="421"/>
                    <a:pt x="1776" y="440"/>
                  </a:cubicBezTo>
                  <a:cubicBezTo>
                    <a:pt x="1729" y="434"/>
                    <a:pt x="1803" y="394"/>
                    <a:pt x="1766" y="359"/>
                  </a:cubicBezTo>
                  <a:cubicBezTo>
                    <a:pt x="1723" y="369"/>
                    <a:pt x="1707" y="413"/>
                    <a:pt x="1724" y="439"/>
                  </a:cubicBezTo>
                  <a:cubicBezTo>
                    <a:pt x="1723" y="462"/>
                    <a:pt x="1705" y="474"/>
                    <a:pt x="1702" y="494"/>
                  </a:cubicBezTo>
                  <a:cubicBezTo>
                    <a:pt x="1681" y="491"/>
                    <a:pt x="1672" y="483"/>
                    <a:pt x="1670" y="475"/>
                  </a:cubicBezTo>
                  <a:cubicBezTo>
                    <a:pt x="1667" y="460"/>
                    <a:pt x="1708" y="453"/>
                    <a:pt x="1680" y="420"/>
                  </a:cubicBezTo>
                  <a:cubicBezTo>
                    <a:pt x="1635" y="427"/>
                    <a:pt x="1665" y="500"/>
                    <a:pt x="1629" y="461"/>
                  </a:cubicBezTo>
                  <a:cubicBezTo>
                    <a:pt x="1626" y="444"/>
                    <a:pt x="1614" y="429"/>
                    <a:pt x="1605" y="427"/>
                  </a:cubicBezTo>
                  <a:cubicBezTo>
                    <a:pt x="1588" y="439"/>
                    <a:pt x="1580" y="459"/>
                    <a:pt x="1591" y="476"/>
                  </a:cubicBezTo>
                  <a:lnTo>
                    <a:pt x="1609" y="499"/>
                  </a:lnTo>
                  <a:cubicBezTo>
                    <a:pt x="1607" y="499"/>
                    <a:pt x="1617" y="513"/>
                    <a:pt x="1615" y="512"/>
                  </a:cubicBezTo>
                  <a:cubicBezTo>
                    <a:pt x="1585" y="488"/>
                    <a:pt x="1545" y="471"/>
                    <a:pt x="1520" y="498"/>
                  </a:cubicBezTo>
                  <a:cubicBezTo>
                    <a:pt x="1523" y="523"/>
                    <a:pt x="1545" y="525"/>
                    <a:pt x="1579" y="533"/>
                  </a:cubicBezTo>
                  <a:cubicBezTo>
                    <a:pt x="1536" y="537"/>
                    <a:pt x="1527" y="552"/>
                    <a:pt x="1513" y="560"/>
                  </a:cubicBezTo>
                  <a:cubicBezTo>
                    <a:pt x="1508" y="532"/>
                    <a:pt x="1475" y="527"/>
                    <a:pt x="1444" y="523"/>
                  </a:cubicBezTo>
                  <a:cubicBezTo>
                    <a:pt x="1426" y="527"/>
                    <a:pt x="1415" y="515"/>
                    <a:pt x="1407" y="521"/>
                  </a:cubicBezTo>
                  <a:cubicBezTo>
                    <a:pt x="1420" y="553"/>
                    <a:pt x="1451" y="578"/>
                    <a:pt x="1490" y="586"/>
                  </a:cubicBezTo>
                  <a:cubicBezTo>
                    <a:pt x="1507" y="584"/>
                    <a:pt x="1509" y="584"/>
                    <a:pt x="1521" y="578"/>
                  </a:cubicBezTo>
                  <a:cubicBezTo>
                    <a:pt x="1544" y="588"/>
                    <a:pt x="1542" y="592"/>
                    <a:pt x="1548" y="608"/>
                  </a:cubicBezTo>
                  <a:cubicBezTo>
                    <a:pt x="1514" y="623"/>
                    <a:pt x="1487" y="604"/>
                    <a:pt x="1453" y="612"/>
                  </a:cubicBezTo>
                  <a:cubicBezTo>
                    <a:pt x="1453" y="614"/>
                    <a:pt x="1445" y="614"/>
                    <a:pt x="1444" y="611"/>
                  </a:cubicBezTo>
                  <a:cubicBezTo>
                    <a:pt x="1445" y="611"/>
                    <a:pt x="1440" y="603"/>
                    <a:pt x="1441" y="603"/>
                  </a:cubicBezTo>
                  <a:cubicBezTo>
                    <a:pt x="1426" y="575"/>
                    <a:pt x="1387" y="586"/>
                    <a:pt x="1366" y="592"/>
                  </a:cubicBezTo>
                  <a:cubicBezTo>
                    <a:pt x="1363" y="614"/>
                    <a:pt x="1386" y="632"/>
                    <a:pt x="1404" y="640"/>
                  </a:cubicBezTo>
                  <a:cubicBezTo>
                    <a:pt x="1429" y="649"/>
                    <a:pt x="1438" y="641"/>
                    <a:pt x="1438" y="641"/>
                  </a:cubicBezTo>
                  <a:lnTo>
                    <a:pt x="1448" y="632"/>
                  </a:lnTo>
                  <a:cubicBezTo>
                    <a:pt x="1459" y="672"/>
                    <a:pt x="1473" y="674"/>
                    <a:pt x="1494" y="690"/>
                  </a:cubicBezTo>
                  <a:cubicBezTo>
                    <a:pt x="1471" y="698"/>
                    <a:pt x="1462" y="705"/>
                    <a:pt x="1433" y="703"/>
                  </a:cubicBezTo>
                  <a:cubicBezTo>
                    <a:pt x="1400" y="652"/>
                    <a:pt x="1301" y="630"/>
                    <a:pt x="1305" y="654"/>
                  </a:cubicBezTo>
                  <a:cubicBezTo>
                    <a:pt x="1319" y="706"/>
                    <a:pt x="1392" y="719"/>
                    <a:pt x="1392" y="719"/>
                  </a:cubicBezTo>
                  <a:cubicBezTo>
                    <a:pt x="1392" y="719"/>
                    <a:pt x="1354" y="733"/>
                    <a:pt x="1360" y="746"/>
                  </a:cubicBezTo>
                  <a:cubicBezTo>
                    <a:pt x="1367" y="758"/>
                    <a:pt x="1417" y="766"/>
                    <a:pt x="1410" y="785"/>
                  </a:cubicBezTo>
                  <a:cubicBezTo>
                    <a:pt x="1358" y="762"/>
                    <a:pt x="1348" y="771"/>
                    <a:pt x="1383" y="817"/>
                  </a:cubicBezTo>
                  <a:cubicBezTo>
                    <a:pt x="1339" y="819"/>
                    <a:pt x="1349" y="772"/>
                    <a:pt x="1321" y="761"/>
                  </a:cubicBezTo>
                  <a:cubicBezTo>
                    <a:pt x="1301" y="775"/>
                    <a:pt x="1313" y="806"/>
                    <a:pt x="1313" y="806"/>
                  </a:cubicBezTo>
                  <a:cubicBezTo>
                    <a:pt x="1303" y="798"/>
                    <a:pt x="1277" y="754"/>
                    <a:pt x="1255" y="760"/>
                  </a:cubicBezTo>
                  <a:cubicBezTo>
                    <a:pt x="1248" y="765"/>
                    <a:pt x="1248" y="789"/>
                    <a:pt x="1265" y="805"/>
                  </a:cubicBezTo>
                  <a:cubicBezTo>
                    <a:pt x="1244" y="809"/>
                    <a:pt x="1210" y="806"/>
                    <a:pt x="1205" y="829"/>
                  </a:cubicBezTo>
                  <a:cubicBezTo>
                    <a:pt x="1239" y="855"/>
                    <a:pt x="1276" y="855"/>
                    <a:pt x="1329" y="849"/>
                  </a:cubicBezTo>
                  <a:cubicBezTo>
                    <a:pt x="1329" y="849"/>
                    <a:pt x="1339" y="848"/>
                    <a:pt x="1350" y="845"/>
                  </a:cubicBezTo>
                  <a:cubicBezTo>
                    <a:pt x="1360" y="842"/>
                    <a:pt x="1375" y="856"/>
                    <a:pt x="1375" y="856"/>
                  </a:cubicBezTo>
                  <a:cubicBezTo>
                    <a:pt x="1349" y="862"/>
                    <a:pt x="1360" y="870"/>
                    <a:pt x="1308" y="881"/>
                  </a:cubicBezTo>
                  <a:cubicBezTo>
                    <a:pt x="1274" y="897"/>
                    <a:pt x="1247" y="918"/>
                    <a:pt x="1247" y="953"/>
                  </a:cubicBezTo>
                  <a:cubicBezTo>
                    <a:pt x="1268" y="963"/>
                    <a:pt x="1294" y="973"/>
                    <a:pt x="1308" y="953"/>
                  </a:cubicBezTo>
                  <a:cubicBezTo>
                    <a:pt x="1331" y="920"/>
                    <a:pt x="1324" y="946"/>
                    <a:pt x="1340" y="945"/>
                  </a:cubicBezTo>
                  <a:lnTo>
                    <a:pt x="1358" y="951"/>
                  </a:lnTo>
                  <a:cubicBezTo>
                    <a:pt x="1344" y="986"/>
                    <a:pt x="1264" y="985"/>
                    <a:pt x="1279" y="1011"/>
                  </a:cubicBezTo>
                  <a:cubicBezTo>
                    <a:pt x="1295" y="1035"/>
                    <a:pt x="1319" y="1061"/>
                    <a:pt x="1319" y="1061"/>
                  </a:cubicBezTo>
                  <a:cubicBezTo>
                    <a:pt x="1319" y="1061"/>
                    <a:pt x="1263" y="1032"/>
                    <a:pt x="1247" y="1053"/>
                  </a:cubicBezTo>
                  <a:cubicBezTo>
                    <a:pt x="1232" y="1071"/>
                    <a:pt x="1265" y="1102"/>
                    <a:pt x="1324" y="1115"/>
                  </a:cubicBezTo>
                  <a:cubicBezTo>
                    <a:pt x="1304" y="1128"/>
                    <a:pt x="1233" y="1115"/>
                    <a:pt x="1276" y="1160"/>
                  </a:cubicBezTo>
                  <a:cubicBezTo>
                    <a:pt x="1225" y="1181"/>
                    <a:pt x="1242" y="1196"/>
                    <a:pt x="1283" y="1185"/>
                  </a:cubicBezTo>
                  <a:lnTo>
                    <a:pt x="1303" y="1188"/>
                  </a:lnTo>
                  <a:cubicBezTo>
                    <a:pt x="1291" y="1196"/>
                    <a:pt x="1254" y="1213"/>
                    <a:pt x="1257" y="1226"/>
                  </a:cubicBezTo>
                  <a:cubicBezTo>
                    <a:pt x="1259" y="1243"/>
                    <a:pt x="1300" y="1222"/>
                    <a:pt x="1307" y="1235"/>
                  </a:cubicBezTo>
                  <a:cubicBezTo>
                    <a:pt x="1310" y="1254"/>
                    <a:pt x="1287" y="1262"/>
                    <a:pt x="1285" y="1267"/>
                  </a:cubicBezTo>
                  <a:cubicBezTo>
                    <a:pt x="1314" y="1286"/>
                    <a:pt x="1331" y="1241"/>
                    <a:pt x="1358" y="1267"/>
                  </a:cubicBezTo>
                  <a:cubicBezTo>
                    <a:pt x="1348" y="1286"/>
                    <a:pt x="1305" y="1282"/>
                    <a:pt x="1314" y="1311"/>
                  </a:cubicBezTo>
                  <a:cubicBezTo>
                    <a:pt x="1330" y="1323"/>
                    <a:pt x="1357" y="1318"/>
                    <a:pt x="1373" y="1329"/>
                  </a:cubicBezTo>
                  <a:cubicBezTo>
                    <a:pt x="1373" y="1329"/>
                    <a:pt x="1351" y="1371"/>
                    <a:pt x="1363" y="1376"/>
                  </a:cubicBezTo>
                  <a:cubicBezTo>
                    <a:pt x="1386" y="1388"/>
                    <a:pt x="1408" y="1351"/>
                    <a:pt x="1416" y="1349"/>
                  </a:cubicBezTo>
                  <a:cubicBezTo>
                    <a:pt x="1410" y="1396"/>
                    <a:pt x="1450" y="1380"/>
                    <a:pt x="1438" y="1413"/>
                  </a:cubicBezTo>
                  <a:cubicBezTo>
                    <a:pt x="1438" y="1430"/>
                    <a:pt x="1436" y="1454"/>
                    <a:pt x="1454" y="1463"/>
                  </a:cubicBezTo>
                  <a:cubicBezTo>
                    <a:pt x="1491" y="1452"/>
                    <a:pt x="1495" y="1423"/>
                    <a:pt x="1494" y="1379"/>
                  </a:cubicBezTo>
                  <a:cubicBezTo>
                    <a:pt x="1494" y="1364"/>
                    <a:pt x="1537" y="1389"/>
                    <a:pt x="1537" y="1389"/>
                  </a:cubicBezTo>
                  <a:cubicBezTo>
                    <a:pt x="1563" y="1410"/>
                    <a:pt x="1492" y="1426"/>
                    <a:pt x="1513" y="1471"/>
                  </a:cubicBezTo>
                  <a:cubicBezTo>
                    <a:pt x="1573" y="1479"/>
                    <a:pt x="1573" y="1428"/>
                    <a:pt x="1621" y="1419"/>
                  </a:cubicBezTo>
                  <a:cubicBezTo>
                    <a:pt x="1643" y="1433"/>
                    <a:pt x="1612" y="1457"/>
                    <a:pt x="1605" y="1474"/>
                  </a:cubicBezTo>
                  <a:cubicBezTo>
                    <a:pt x="1575" y="1491"/>
                    <a:pt x="1538" y="1471"/>
                    <a:pt x="1509" y="1530"/>
                  </a:cubicBezTo>
                  <a:cubicBezTo>
                    <a:pt x="1551" y="1546"/>
                    <a:pt x="1570" y="1533"/>
                    <a:pt x="1584" y="1525"/>
                  </a:cubicBezTo>
                  <a:cubicBezTo>
                    <a:pt x="1597" y="1516"/>
                    <a:pt x="1596" y="1511"/>
                    <a:pt x="1606" y="1507"/>
                  </a:cubicBezTo>
                  <a:cubicBezTo>
                    <a:pt x="1607" y="1523"/>
                    <a:pt x="1603" y="1553"/>
                    <a:pt x="1618" y="1559"/>
                  </a:cubicBezTo>
                  <a:cubicBezTo>
                    <a:pt x="1632" y="1558"/>
                    <a:pt x="1633" y="1553"/>
                    <a:pt x="1645" y="1546"/>
                  </a:cubicBezTo>
                  <a:cubicBezTo>
                    <a:pt x="1657" y="1558"/>
                    <a:pt x="1626" y="1589"/>
                    <a:pt x="1644" y="1602"/>
                  </a:cubicBezTo>
                  <a:cubicBezTo>
                    <a:pt x="1661" y="1599"/>
                    <a:pt x="1667" y="1583"/>
                    <a:pt x="1667" y="1583"/>
                  </a:cubicBezTo>
                  <a:cubicBezTo>
                    <a:pt x="1677" y="1597"/>
                    <a:pt x="1689" y="1597"/>
                    <a:pt x="1700" y="1594"/>
                  </a:cubicBezTo>
                  <a:cubicBezTo>
                    <a:pt x="1706" y="1579"/>
                    <a:pt x="1707" y="1545"/>
                    <a:pt x="1688" y="1533"/>
                  </a:cubicBezTo>
                  <a:cubicBezTo>
                    <a:pt x="1697" y="1522"/>
                    <a:pt x="1720" y="1543"/>
                    <a:pt x="1729" y="1535"/>
                  </a:cubicBezTo>
                  <a:cubicBezTo>
                    <a:pt x="1748" y="1557"/>
                    <a:pt x="1707" y="1600"/>
                    <a:pt x="1737" y="1618"/>
                  </a:cubicBezTo>
                  <a:cubicBezTo>
                    <a:pt x="1766" y="1615"/>
                    <a:pt x="1765" y="1586"/>
                    <a:pt x="1794" y="1574"/>
                  </a:cubicBezTo>
                  <a:cubicBezTo>
                    <a:pt x="1789" y="1604"/>
                    <a:pt x="1824" y="1626"/>
                    <a:pt x="1779" y="1648"/>
                  </a:cubicBezTo>
                  <a:cubicBezTo>
                    <a:pt x="1779" y="1677"/>
                    <a:pt x="1834" y="1669"/>
                    <a:pt x="1808" y="1711"/>
                  </a:cubicBezTo>
                  <a:cubicBezTo>
                    <a:pt x="1818" y="1728"/>
                    <a:pt x="1831" y="1721"/>
                    <a:pt x="1843" y="1718"/>
                  </a:cubicBezTo>
                  <a:lnTo>
                    <a:pt x="1870" y="1688"/>
                  </a:lnTo>
                  <a:cubicBezTo>
                    <a:pt x="1862" y="1712"/>
                    <a:pt x="1860" y="1750"/>
                    <a:pt x="1867" y="1777"/>
                  </a:cubicBezTo>
                  <a:cubicBezTo>
                    <a:pt x="1858" y="1800"/>
                    <a:pt x="1879" y="1825"/>
                    <a:pt x="1839" y="1844"/>
                  </a:cubicBezTo>
                  <a:cubicBezTo>
                    <a:pt x="1828" y="1900"/>
                    <a:pt x="1827" y="1956"/>
                    <a:pt x="1763" y="1992"/>
                  </a:cubicBezTo>
                  <a:cubicBezTo>
                    <a:pt x="1726" y="2060"/>
                    <a:pt x="1497" y="2024"/>
                    <a:pt x="1446" y="2092"/>
                  </a:cubicBezTo>
                  <a:cubicBezTo>
                    <a:pt x="1459" y="2104"/>
                    <a:pt x="1576" y="2100"/>
                    <a:pt x="1591" y="2096"/>
                  </a:cubicBezTo>
                  <a:cubicBezTo>
                    <a:pt x="1613" y="2085"/>
                    <a:pt x="1631" y="2104"/>
                    <a:pt x="1654" y="2103"/>
                  </a:cubicBezTo>
                  <a:cubicBezTo>
                    <a:pt x="1705" y="2103"/>
                    <a:pt x="1767" y="2086"/>
                    <a:pt x="1809" y="2103"/>
                  </a:cubicBezTo>
                  <a:cubicBezTo>
                    <a:pt x="1869" y="2103"/>
                    <a:pt x="1920" y="2105"/>
                    <a:pt x="1974" y="2105"/>
                  </a:cubicBezTo>
                  <a:lnTo>
                    <a:pt x="1974" y="2106"/>
                  </a:ln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800"/>
            </a:p>
          </p:txBody>
        </p:sp>
        <p:sp>
          <p:nvSpPr>
            <p:cNvPr id="65" name="Freeform 15"/>
            <p:cNvSpPr>
              <a:spLocks noChangeAspect="1" noEditPoints="1"/>
            </p:cNvSpPr>
            <p:nvPr/>
          </p:nvSpPr>
          <p:spPr bwMode="gray">
            <a:xfrm>
              <a:off x="3235" y="2758"/>
              <a:ext cx="581" cy="570"/>
            </a:xfrm>
            <a:custGeom>
              <a:avLst/>
              <a:gdLst/>
              <a:ahLst/>
              <a:cxnLst>
                <a:cxn ang="0">
                  <a:pos x="321" y="621"/>
                </a:cxn>
                <a:cxn ang="0">
                  <a:pos x="321" y="621"/>
                </a:cxn>
                <a:cxn ang="0">
                  <a:pos x="639" y="307"/>
                </a:cxn>
                <a:cxn ang="0">
                  <a:pos x="321" y="0"/>
                </a:cxn>
                <a:cxn ang="0">
                  <a:pos x="0" y="307"/>
                </a:cxn>
                <a:cxn ang="0">
                  <a:pos x="321" y="621"/>
                </a:cxn>
                <a:cxn ang="0">
                  <a:pos x="321" y="621"/>
                </a:cxn>
                <a:cxn ang="0">
                  <a:pos x="162" y="307"/>
                </a:cxn>
                <a:cxn ang="0">
                  <a:pos x="162" y="307"/>
                </a:cxn>
                <a:cxn ang="0">
                  <a:pos x="321" y="125"/>
                </a:cxn>
                <a:cxn ang="0">
                  <a:pos x="477" y="307"/>
                </a:cxn>
                <a:cxn ang="0">
                  <a:pos x="321" y="495"/>
                </a:cxn>
                <a:cxn ang="0">
                  <a:pos x="162" y="307"/>
                </a:cxn>
              </a:cxnLst>
              <a:rect l="0" t="0" r="r" b="b"/>
              <a:pathLst>
                <a:path w="639" h="621">
                  <a:moveTo>
                    <a:pt x="321" y="621"/>
                  </a:moveTo>
                  <a:lnTo>
                    <a:pt x="321" y="621"/>
                  </a:lnTo>
                  <a:cubicBezTo>
                    <a:pt x="512" y="621"/>
                    <a:pt x="639" y="480"/>
                    <a:pt x="639" y="307"/>
                  </a:cubicBezTo>
                  <a:cubicBezTo>
                    <a:pt x="639" y="124"/>
                    <a:pt x="511" y="0"/>
                    <a:pt x="321" y="0"/>
                  </a:cubicBezTo>
                  <a:cubicBezTo>
                    <a:pt x="130" y="0"/>
                    <a:pt x="0" y="121"/>
                    <a:pt x="0" y="307"/>
                  </a:cubicBezTo>
                  <a:cubicBezTo>
                    <a:pt x="0" y="489"/>
                    <a:pt x="132" y="621"/>
                    <a:pt x="321" y="621"/>
                  </a:cubicBezTo>
                  <a:lnTo>
                    <a:pt x="321" y="621"/>
                  </a:lnTo>
                  <a:close/>
                  <a:moveTo>
                    <a:pt x="162" y="307"/>
                  </a:moveTo>
                  <a:lnTo>
                    <a:pt x="162" y="307"/>
                  </a:lnTo>
                  <a:cubicBezTo>
                    <a:pt x="162" y="198"/>
                    <a:pt x="214" y="125"/>
                    <a:pt x="321" y="125"/>
                  </a:cubicBezTo>
                  <a:cubicBezTo>
                    <a:pt x="425" y="125"/>
                    <a:pt x="477" y="192"/>
                    <a:pt x="477" y="307"/>
                  </a:cubicBezTo>
                  <a:cubicBezTo>
                    <a:pt x="477" y="413"/>
                    <a:pt x="426" y="495"/>
                    <a:pt x="321" y="495"/>
                  </a:cubicBezTo>
                  <a:cubicBezTo>
                    <a:pt x="220" y="495"/>
                    <a:pt x="162" y="415"/>
                    <a:pt x="162" y="307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800"/>
            </a:p>
          </p:txBody>
        </p:sp>
        <p:sp>
          <p:nvSpPr>
            <p:cNvPr id="66" name="Freeform 16"/>
            <p:cNvSpPr>
              <a:spLocks noChangeAspect="1"/>
            </p:cNvSpPr>
            <p:nvPr/>
          </p:nvSpPr>
          <p:spPr bwMode="gray">
            <a:xfrm>
              <a:off x="3892" y="2758"/>
              <a:ext cx="409" cy="570"/>
            </a:xfrm>
            <a:custGeom>
              <a:avLst/>
              <a:gdLst/>
              <a:ahLst/>
              <a:cxnLst>
                <a:cxn ang="0">
                  <a:pos x="377" y="128"/>
                </a:cxn>
                <a:cxn ang="0">
                  <a:pos x="377" y="128"/>
                </a:cxn>
                <a:cxn ang="0">
                  <a:pos x="270" y="114"/>
                </a:cxn>
                <a:cxn ang="0">
                  <a:pos x="163" y="160"/>
                </a:cxn>
                <a:cxn ang="0">
                  <a:pos x="290" y="260"/>
                </a:cxn>
                <a:cxn ang="0">
                  <a:pos x="441" y="443"/>
                </a:cxn>
                <a:cxn ang="0">
                  <a:pos x="187" y="621"/>
                </a:cxn>
                <a:cxn ang="0">
                  <a:pos x="11" y="594"/>
                </a:cxn>
                <a:cxn ang="0">
                  <a:pos x="11" y="469"/>
                </a:cxn>
                <a:cxn ang="0">
                  <a:pos x="193" y="506"/>
                </a:cxn>
                <a:cxn ang="0">
                  <a:pos x="279" y="448"/>
                </a:cxn>
                <a:cxn ang="0">
                  <a:pos x="153" y="349"/>
                </a:cxn>
                <a:cxn ang="0">
                  <a:pos x="0" y="160"/>
                </a:cxn>
                <a:cxn ang="0">
                  <a:pos x="243" y="0"/>
                </a:cxn>
                <a:cxn ang="0">
                  <a:pos x="377" y="10"/>
                </a:cxn>
                <a:cxn ang="0">
                  <a:pos x="377" y="128"/>
                </a:cxn>
              </a:cxnLst>
              <a:rect l="0" t="0" r="r" b="b"/>
              <a:pathLst>
                <a:path w="441" h="621">
                  <a:moveTo>
                    <a:pt x="377" y="128"/>
                  </a:moveTo>
                  <a:lnTo>
                    <a:pt x="377" y="128"/>
                  </a:lnTo>
                  <a:cubicBezTo>
                    <a:pt x="341" y="122"/>
                    <a:pt x="306" y="114"/>
                    <a:pt x="270" y="114"/>
                  </a:cubicBezTo>
                  <a:cubicBezTo>
                    <a:pt x="207" y="114"/>
                    <a:pt x="163" y="129"/>
                    <a:pt x="163" y="160"/>
                  </a:cubicBezTo>
                  <a:cubicBezTo>
                    <a:pt x="163" y="195"/>
                    <a:pt x="223" y="224"/>
                    <a:pt x="290" y="260"/>
                  </a:cubicBezTo>
                  <a:cubicBezTo>
                    <a:pt x="353" y="294"/>
                    <a:pt x="441" y="340"/>
                    <a:pt x="441" y="443"/>
                  </a:cubicBezTo>
                  <a:cubicBezTo>
                    <a:pt x="441" y="557"/>
                    <a:pt x="340" y="621"/>
                    <a:pt x="187" y="621"/>
                  </a:cubicBezTo>
                  <a:cubicBezTo>
                    <a:pt x="117" y="621"/>
                    <a:pt x="69" y="607"/>
                    <a:pt x="11" y="594"/>
                  </a:cubicBezTo>
                  <a:lnTo>
                    <a:pt x="11" y="469"/>
                  </a:lnTo>
                  <a:cubicBezTo>
                    <a:pt x="56" y="482"/>
                    <a:pt x="128" y="506"/>
                    <a:pt x="193" y="506"/>
                  </a:cubicBezTo>
                  <a:cubicBezTo>
                    <a:pt x="236" y="506"/>
                    <a:pt x="279" y="487"/>
                    <a:pt x="279" y="448"/>
                  </a:cubicBezTo>
                  <a:cubicBezTo>
                    <a:pt x="279" y="412"/>
                    <a:pt x="227" y="391"/>
                    <a:pt x="153" y="349"/>
                  </a:cubicBezTo>
                  <a:cubicBezTo>
                    <a:pt x="86" y="316"/>
                    <a:pt x="0" y="247"/>
                    <a:pt x="0" y="160"/>
                  </a:cubicBezTo>
                  <a:cubicBezTo>
                    <a:pt x="0" y="57"/>
                    <a:pt x="104" y="0"/>
                    <a:pt x="243" y="0"/>
                  </a:cubicBezTo>
                  <a:cubicBezTo>
                    <a:pt x="288" y="0"/>
                    <a:pt x="333" y="4"/>
                    <a:pt x="377" y="10"/>
                  </a:cubicBezTo>
                  <a:lnTo>
                    <a:pt x="377" y="128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800"/>
            </a:p>
          </p:txBody>
        </p:sp>
        <p:sp>
          <p:nvSpPr>
            <p:cNvPr id="67" name="Freeform 17"/>
            <p:cNvSpPr>
              <a:spLocks noChangeAspect="1"/>
            </p:cNvSpPr>
            <p:nvPr/>
          </p:nvSpPr>
          <p:spPr bwMode="gray">
            <a:xfrm>
              <a:off x="1772" y="2564"/>
              <a:ext cx="215" cy="743"/>
            </a:xfrm>
            <a:custGeom>
              <a:avLst/>
              <a:gdLst/>
              <a:ahLst/>
              <a:cxnLst>
                <a:cxn ang="0">
                  <a:pos x="18" y="817"/>
                </a:cxn>
                <a:cxn ang="0">
                  <a:pos x="18" y="817"/>
                </a:cxn>
                <a:cxn ang="0">
                  <a:pos x="24" y="606"/>
                </a:cxn>
                <a:cxn ang="0">
                  <a:pos x="24" y="287"/>
                </a:cxn>
                <a:cxn ang="0">
                  <a:pos x="0" y="0"/>
                </a:cxn>
                <a:cxn ang="0">
                  <a:pos x="211" y="0"/>
                </a:cxn>
                <a:cxn ang="0">
                  <a:pos x="205" y="232"/>
                </a:cxn>
                <a:cxn ang="0">
                  <a:pos x="205" y="530"/>
                </a:cxn>
                <a:cxn ang="0">
                  <a:pos x="229" y="817"/>
                </a:cxn>
                <a:cxn ang="0">
                  <a:pos x="18" y="817"/>
                </a:cxn>
              </a:cxnLst>
              <a:rect l="0" t="0" r="r" b="b"/>
              <a:pathLst>
                <a:path w="229" h="817">
                  <a:moveTo>
                    <a:pt x="18" y="817"/>
                  </a:moveTo>
                  <a:lnTo>
                    <a:pt x="18" y="817"/>
                  </a:lnTo>
                  <a:cubicBezTo>
                    <a:pt x="22" y="750"/>
                    <a:pt x="24" y="699"/>
                    <a:pt x="24" y="606"/>
                  </a:cubicBezTo>
                  <a:lnTo>
                    <a:pt x="24" y="287"/>
                  </a:lnTo>
                  <a:cubicBezTo>
                    <a:pt x="24" y="172"/>
                    <a:pt x="17" y="85"/>
                    <a:pt x="0" y="0"/>
                  </a:cubicBezTo>
                  <a:lnTo>
                    <a:pt x="211" y="0"/>
                  </a:lnTo>
                  <a:cubicBezTo>
                    <a:pt x="211" y="59"/>
                    <a:pt x="205" y="140"/>
                    <a:pt x="205" y="232"/>
                  </a:cubicBezTo>
                  <a:lnTo>
                    <a:pt x="205" y="530"/>
                  </a:lnTo>
                  <a:cubicBezTo>
                    <a:pt x="205" y="614"/>
                    <a:pt x="218" y="739"/>
                    <a:pt x="229" y="817"/>
                  </a:cubicBezTo>
                  <a:lnTo>
                    <a:pt x="18" y="817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800"/>
            </a:p>
          </p:txBody>
        </p:sp>
        <p:sp>
          <p:nvSpPr>
            <p:cNvPr id="68" name="Freeform 18"/>
            <p:cNvSpPr>
              <a:spLocks noChangeAspect="1" noEditPoints="1"/>
            </p:cNvSpPr>
            <p:nvPr/>
          </p:nvSpPr>
          <p:spPr bwMode="gray">
            <a:xfrm>
              <a:off x="2095" y="2758"/>
              <a:ext cx="602" cy="785"/>
            </a:xfrm>
            <a:custGeom>
              <a:avLst/>
              <a:gdLst/>
              <a:ahLst/>
              <a:cxnLst>
                <a:cxn ang="0">
                  <a:pos x="210" y="851"/>
                </a:cxn>
                <a:cxn ang="0">
                  <a:pos x="210" y="851"/>
                </a:cxn>
                <a:cxn ang="0">
                  <a:pos x="198" y="632"/>
                </a:cxn>
                <a:cxn ang="0">
                  <a:pos x="198" y="564"/>
                </a:cxn>
                <a:cxn ang="0">
                  <a:pos x="385" y="621"/>
                </a:cxn>
                <a:cxn ang="0">
                  <a:pos x="662" y="322"/>
                </a:cxn>
                <a:cxn ang="0">
                  <a:pos x="378" y="0"/>
                </a:cxn>
                <a:cxn ang="0">
                  <a:pos x="174" y="98"/>
                </a:cxn>
                <a:cxn ang="0">
                  <a:pos x="153" y="15"/>
                </a:cxn>
                <a:cxn ang="0">
                  <a:pos x="0" y="26"/>
                </a:cxn>
                <a:cxn ang="0">
                  <a:pos x="36" y="323"/>
                </a:cxn>
                <a:cxn ang="0">
                  <a:pos x="36" y="564"/>
                </a:cxn>
                <a:cxn ang="0">
                  <a:pos x="12" y="863"/>
                </a:cxn>
                <a:cxn ang="0">
                  <a:pos x="210" y="851"/>
                </a:cxn>
                <a:cxn ang="0">
                  <a:pos x="210" y="851"/>
                </a:cxn>
                <a:cxn ang="0">
                  <a:pos x="186" y="323"/>
                </a:cxn>
                <a:cxn ang="0">
                  <a:pos x="186" y="323"/>
                </a:cxn>
                <a:cxn ang="0">
                  <a:pos x="338" y="125"/>
                </a:cxn>
                <a:cxn ang="0">
                  <a:pos x="500" y="323"/>
                </a:cxn>
                <a:cxn ang="0">
                  <a:pos x="345" y="495"/>
                </a:cxn>
                <a:cxn ang="0">
                  <a:pos x="186" y="323"/>
                </a:cxn>
              </a:cxnLst>
              <a:rect l="0" t="0" r="r" b="b"/>
              <a:pathLst>
                <a:path w="662" h="863">
                  <a:moveTo>
                    <a:pt x="210" y="851"/>
                  </a:moveTo>
                  <a:lnTo>
                    <a:pt x="210" y="851"/>
                  </a:lnTo>
                  <a:cubicBezTo>
                    <a:pt x="198" y="763"/>
                    <a:pt x="198" y="664"/>
                    <a:pt x="198" y="632"/>
                  </a:cubicBezTo>
                  <a:lnTo>
                    <a:pt x="198" y="564"/>
                  </a:lnTo>
                  <a:cubicBezTo>
                    <a:pt x="242" y="589"/>
                    <a:pt x="288" y="621"/>
                    <a:pt x="385" y="621"/>
                  </a:cubicBezTo>
                  <a:cubicBezTo>
                    <a:pt x="550" y="621"/>
                    <a:pt x="662" y="495"/>
                    <a:pt x="662" y="322"/>
                  </a:cubicBezTo>
                  <a:cubicBezTo>
                    <a:pt x="662" y="134"/>
                    <a:pt x="546" y="0"/>
                    <a:pt x="378" y="0"/>
                  </a:cubicBezTo>
                  <a:cubicBezTo>
                    <a:pt x="261" y="0"/>
                    <a:pt x="213" y="56"/>
                    <a:pt x="174" y="98"/>
                  </a:cubicBezTo>
                  <a:cubicBezTo>
                    <a:pt x="166" y="67"/>
                    <a:pt x="162" y="41"/>
                    <a:pt x="153" y="15"/>
                  </a:cubicBezTo>
                  <a:lnTo>
                    <a:pt x="0" y="26"/>
                  </a:lnTo>
                  <a:cubicBezTo>
                    <a:pt x="19" y="127"/>
                    <a:pt x="36" y="220"/>
                    <a:pt x="36" y="323"/>
                  </a:cubicBezTo>
                  <a:lnTo>
                    <a:pt x="36" y="564"/>
                  </a:lnTo>
                  <a:cubicBezTo>
                    <a:pt x="36" y="648"/>
                    <a:pt x="18" y="808"/>
                    <a:pt x="12" y="863"/>
                  </a:cubicBezTo>
                  <a:lnTo>
                    <a:pt x="210" y="851"/>
                  </a:lnTo>
                  <a:lnTo>
                    <a:pt x="210" y="851"/>
                  </a:lnTo>
                  <a:close/>
                  <a:moveTo>
                    <a:pt x="186" y="323"/>
                  </a:moveTo>
                  <a:lnTo>
                    <a:pt x="186" y="323"/>
                  </a:lnTo>
                  <a:cubicBezTo>
                    <a:pt x="186" y="206"/>
                    <a:pt x="236" y="125"/>
                    <a:pt x="338" y="125"/>
                  </a:cubicBezTo>
                  <a:cubicBezTo>
                    <a:pt x="433" y="125"/>
                    <a:pt x="500" y="207"/>
                    <a:pt x="500" y="323"/>
                  </a:cubicBezTo>
                  <a:cubicBezTo>
                    <a:pt x="500" y="426"/>
                    <a:pt x="448" y="495"/>
                    <a:pt x="345" y="495"/>
                  </a:cubicBezTo>
                  <a:cubicBezTo>
                    <a:pt x="244" y="495"/>
                    <a:pt x="186" y="437"/>
                    <a:pt x="186" y="323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800"/>
            </a:p>
          </p:txBody>
        </p:sp>
        <p:sp>
          <p:nvSpPr>
            <p:cNvPr id="69" name="Freeform 19"/>
            <p:cNvSpPr>
              <a:spLocks noChangeAspect="1"/>
            </p:cNvSpPr>
            <p:nvPr/>
          </p:nvSpPr>
          <p:spPr bwMode="gray">
            <a:xfrm>
              <a:off x="2773" y="2758"/>
              <a:ext cx="398" cy="570"/>
            </a:xfrm>
            <a:custGeom>
              <a:avLst/>
              <a:gdLst/>
              <a:ahLst/>
              <a:cxnLst>
                <a:cxn ang="0">
                  <a:pos x="364" y="126"/>
                </a:cxn>
                <a:cxn ang="0">
                  <a:pos x="364" y="126"/>
                </a:cxn>
                <a:cxn ang="0">
                  <a:pos x="270" y="114"/>
                </a:cxn>
                <a:cxn ang="0">
                  <a:pos x="162" y="160"/>
                </a:cxn>
                <a:cxn ang="0">
                  <a:pos x="289" y="260"/>
                </a:cxn>
                <a:cxn ang="0">
                  <a:pos x="440" y="443"/>
                </a:cxn>
                <a:cxn ang="0">
                  <a:pos x="186" y="621"/>
                </a:cxn>
                <a:cxn ang="0">
                  <a:pos x="11" y="594"/>
                </a:cxn>
                <a:cxn ang="0">
                  <a:pos x="11" y="469"/>
                </a:cxn>
                <a:cxn ang="0">
                  <a:pos x="192" y="506"/>
                </a:cxn>
                <a:cxn ang="0">
                  <a:pos x="278" y="448"/>
                </a:cxn>
                <a:cxn ang="0">
                  <a:pos x="152" y="349"/>
                </a:cxn>
                <a:cxn ang="0">
                  <a:pos x="0" y="160"/>
                </a:cxn>
                <a:cxn ang="0">
                  <a:pos x="242" y="0"/>
                </a:cxn>
                <a:cxn ang="0">
                  <a:pos x="387" y="12"/>
                </a:cxn>
                <a:cxn ang="0">
                  <a:pos x="364" y="126"/>
                </a:cxn>
              </a:cxnLst>
              <a:rect l="0" t="0" r="r" b="b"/>
              <a:pathLst>
                <a:path w="440" h="621">
                  <a:moveTo>
                    <a:pt x="364" y="126"/>
                  </a:moveTo>
                  <a:lnTo>
                    <a:pt x="364" y="126"/>
                  </a:lnTo>
                  <a:cubicBezTo>
                    <a:pt x="328" y="120"/>
                    <a:pt x="306" y="114"/>
                    <a:pt x="270" y="114"/>
                  </a:cubicBezTo>
                  <a:cubicBezTo>
                    <a:pt x="206" y="114"/>
                    <a:pt x="162" y="129"/>
                    <a:pt x="162" y="160"/>
                  </a:cubicBezTo>
                  <a:cubicBezTo>
                    <a:pt x="162" y="195"/>
                    <a:pt x="222" y="224"/>
                    <a:pt x="289" y="260"/>
                  </a:cubicBezTo>
                  <a:cubicBezTo>
                    <a:pt x="353" y="294"/>
                    <a:pt x="440" y="340"/>
                    <a:pt x="440" y="443"/>
                  </a:cubicBezTo>
                  <a:cubicBezTo>
                    <a:pt x="440" y="557"/>
                    <a:pt x="339" y="621"/>
                    <a:pt x="186" y="621"/>
                  </a:cubicBezTo>
                  <a:cubicBezTo>
                    <a:pt x="116" y="621"/>
                    <a:pt x="68" y="607"/>
                    <a:pt x="11" y="594"/>
                  </a:cubicBezTo>
                  <a:lnTo>
                    <a:pt x="11" y="469"/>
                  </a:lnTo>
                  <a:cubicBezTo>
                    <a:pt x="55" y="482"/>
                    <a:pt x="127" y="506"/>
                    <a:pt x="192" y="506"/>
                  </a:cubicBezTo>
                  <a:cubicBezTo>
                    <a:pt x="235" y="506"/>
                    <a:pt x="278" y="487"/>
                    <a:pt x="278" y="448"/>
                  </a:cubicBezTo>
                  <a:cubicBezTo>
                    <a:pt x="278" y="412"/>
                    <a:pt x="227" y="391"/>
                    <a:pt x="152" y="349"/>
                  </a:cubicBezTo>
                  <a:cubicBezTo>
                    <a:pt x="85" y="316"/>
                    <a:pt x="0" y="247"/>
                    <a:pt x="0" y="160"/>
                  </a:cubicBezTo>
                  <a:cubicBezTo>
                    <a:pt x="0" y="57"/>
                    <a:pt x="103" y="0"/>
                    <a:pt x="242" y="0"/>
                  </a:cubicBezTo>
                  <a:cubicBezTo>
                    <a:pt x="288" y="0"/>
                    <a:pt x="342" y="6"/>
                    <a:pt x="387" y="12"/>
                  </a:cubicBezTo>
                  <a:lnTo>
                    <a:pt x="364" y="126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800"/>
            </a:p>
          </p:txBody>
        </p:sp>
      </p:grpSp>
      <p:sp>
        <p:nvSpPr>
          <p:cNvPr id="28" name="Titel 1"/>
          <p:cNvSpPr>
            <a:spLocks noGrp="1"/>
          </p:cNvSpPr>
          <p:nvPr>
            <p:ph type="ctrTitle"/>
          </p:nvPr>
        </p:nvSpPr>
        <p:spPr>
          <a:xfrm>
            <a:off x="1099058" y="2113200"/>
            <a:ext cx="5279313" cy="997196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90000"/>
              </a:lnSpc>
              <a:defRPr sz="3600" b="1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29" name="Untertitel 2"/>
          <p:cNvSpPr>
            <a:spLocks noGrp="1"/>
          </p:cNvSpPr>
          <p:nvPr>
            <p:ph type="subTitle" idx="1"/>
          </p:nvPr>
        </p:nvSpPr>
        <p:spPr>
          <a:xfrm>
            <a:off x="1099057" y="3171599"/>
            <a:ext cx="5039344" cy="10800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>
              <a:lnSpc>
                <a:spcPct val="90000"/>
              </a:lnSpc>
              <a:spcBef>
                <a:spcPts val="1000"/>
              </a:spcBef>
              <a:buNone/>
              <a:defRPr sz="2800" b="0">
                <a:solidFill>
                  <a:schemeClr val="tx1"/>
                </a:solidFill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pic>
        <p:nvPicPr>
          <p:cNvPr id="38" name="Grafik 3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2588" y="368660"/>
            <a:ext cx="4565287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58474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ECIA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1118254" y="97200"/>
            <a:ext cx="7439032" cy="612000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>
            <a:lvl1pPr algn="l">
              <a:lnSpc>
                <a:spcPct val="90000"/>
              </a:lnSpc>
              <a:defRPr sz="20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grpSp>
        <p:nvGrpSpPr>
          <p:cNvPr id="46" name="Group 4"/>
          <p:cNvGrpSpPr>
            <a:grpSpLocks noChangeAspect="1"/>
          </p:cNvGrpSpPr>
          <p:nvPr userDrawn="1"/>
        </p:nvGrpSpPr>
        <p:grpSpPr bwMode="gray">
          <a:xfrm>
            <a:off x="201574" y="151200"/>
            <a:ext cx="582858" cy="468000"/>
            <a:chOff x="1352" y="681"/>
            <a:chExt cx="3519" cy="3153"/>
          </a:xfrm>
        </p:grpSpPr>
        <p:sp>
          <p:nvSpPr>
            <p:cNvPr id="47" name="Freeform 5"/>
            <p:cNvSpPr>
              <a:spLocks noChangeAspect="1"/>
            </p:cNvSpPr>
            <p:nvPr/>
          </p:nvSpPr>
          <p:spPr bwMode="gray">
            <a:xfrm>
              <a:off x="1352" y="681"/>
              <a:ext cx="3519" cy="3153"/>
            </a:xfrm>
            <a:custGeom>
              <a:avLst/>
              <a:gdLst/>
              <a:ahLst/>
              <a:cxnLst>
                <a:cxn ang="0">
                  <a:pos x="0" y="3449"/>
                </a:cxn>
                <a:cxn ang="0">
                  <a:pos x="0" y="3449"/>
                </a:cxn>
                <a:cxn ang="0">
                  <a:pos x="0" y="0"/>
                </a:cxn>
                <a:cxn ang="0">
                  <a:pos x="3696" y="0"/>
                </a:cxn>
                <a:cxn ang="0">
                  <a:pos x="3327" y="3449"/>
                </a:cxn>
                <a:cxn ang="0">
                  <a:pos x="0" y="3449"/>
                </a:cxn>
              </a:cxnLst>
              <a:rect l="0" t="0" r="r" b="b"/>
              <a:pathLst>
                <a:path w="3862" h="3449">
                  <a:moveTo>
                    <a:pt x="0" y="3449"/>
                  </a:moveTo>
                  <a:lnTo>
                    <a:pt x="0" y="3449"/>
                  </a:lnTo>
                  <a:lnTo>
                    <a:pt x="0" y="0"/>
                  </a:lnTo>
                  <a:lnTo>
                    <a:pt x="3696" y="0"/>
                  </a:lnTo>
                  <a:cubicBezTo>
                    <a:pt x="3862" y="1150"/>
                    <a:pt x="3797" y="2241"/>
                    <a:pt x="3327" y="3449"/>
                  </a:cubicBezTo>
                  <a:lnTo>
                    <a:pt x="0" y="3449"/>
                  </a:lnTo>
                  <a:close/>
                </a:path>
              </a:pathLst>
            </a:custGeom>
            <a:solidFill>
              <a:srgbClr val="009D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800"/>
            </a:p>
          </p:txBody>
        </p:sp>
        <p:sp>
          <p:nvSpPr>
            <p:cNvPr id="48" name="Freeform 6"/>
            <p:cNvSpPr>
              <a:spLocks noChangeAspect="1"/>
            </p:cNvSpPr>
            <p:nvPr/>
          </p:nvSpPr>
          <p:spPr bwMode="gray">
            <a:xfrm>
              <a:off x="2708" y="1843"/>
              <a:ext cx="75" cy="54"/>
            </a:xfrm>
            <a:custGeom>
              <a:avLst/>
              <a:gdLst/>
              <a:ahLst/>
              <a:cxnLst>
                <a:cxn ang="0">
                  <a:pos x="16" y="40"/>
                </a:cxn>
                <a:cxn ang="0">
                  <a:pos x="16" y="40"/>
                </a:cxn>
                <a:cxn ang="0">
                  <a:pos x="0" y="54"/>
                </a:cxn>
                <a:cxn ang="0">
                  <a:pos x="79" y="22"/>
                </a:cxn>
                <a:cxn ang="0">
                  <a:pos x="81" y="0"/>
                </a:cxn>
                <a:cxn ang="0">
                  <a:pos x="16" y="40"/>
                </a:cxn>
              </a:cxnLst>
              <a:rect l="0" t="0" r="r" b="b"/>
              <a:pathLst>
                <a:path w="81" h="66">
                  <a:moveTo>
                    <a:pt x="16" y="40"/>
                  </a:moveTo>
                  <a:lnTo>
                    <a:pt x="16" y="40"/>
                  </a:lnTo>
                  <a:lnTo>
                    <a:pt x="0" y="54"/>
                  </a:lnTo>
                  <a:cubicBezTo>
                    <a:pt x="35" y="66"/>
                    <a:pt x="72" y="42"/>
                    <a:pt x="79" y="22"/>
                  </a:cubicBezTo>
                  <a:lnTo>
                    <a:pt x="81" y="0"/>
                  </a:lnTo>
                  <a:cubicBezTo>
                    <a:pt x="54" y="6"/>
                    <a:pt x="27" y="19"/>
                    <a:pt x="16" y="40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800"/>
            </a:p>
          </p:txBody>
        </p:sp>
        <p:sp>
          <p:nvSpPr>
            <p:cNvPr id="49" name="Freeform 7"/>
            <p:cNvSpPr>
              <a:spLocks noChangeAspect="1"/>
            </p:cNvSpPr>
            <p:nvPr/>
          </p:nvSpPr>
          <p:spPr bwMode="gray">
            <a:xfrm>
              <a:off x="2869" y="1972"/>
              <a:ext cx="65" cy="54"/>
            </a:xfrm>
            <a:custGeom>
              <a:avLst/>
              <a:gdLst/>
              <a:ahLst/>
              <a:cxnLst>
                <a:cxn ang="0">
                  <a:pos x="27" y="1"/>
                </a:cxn>
                <a:cxn ang="0">
                  <a:pos x="27" y="1"/>
                </a:cxn>
                <a:cxn ang="0">
                  <a:pos x="0" y="0"/>
                </a:cxn>
                <a:cxn ang="0">
                  <a:pos x="33" y="58"/>
                </a:cxn>
                <a:cxn ang="0">
                  <a:pos x="53" y="63"/>
                </a:cxn>
                <a:cxn ang="0">
                  <a:pos x="27" y="1"/>
                </a:cxn>
              </a:cxnLst>
              <a:rect l="0" t="0" r="r" b="b"/>
              <a:pathLst>
                <a:path w="81" h="63">
                  <a:moveTo>
                    <a:pt x="27" y="1"/>
                  </a:moveTo>
                  <a:lnTo>
                    <a:pt x="27" y="1"/>
                  </a:lnTo>
                  <a:lnTo>
                    <a:pt x="0" y="0"/>
                  </a:lnTo>
                  <a:cubicBezTo>
                    <a:pt x="0" y="24"/>
                    <a:pt x="8" y="43"/>
                    <a:pt x="33" y="58"/>
                  </a:cubicBezTo>
                  <a:lnTo>
                    <a:pt x="53" y="63"/>
                  </a:lnTo>
                  <a:cubicBezTo>
                    <a:pt x="81" y="39"/>
                    <a:pt x="44" y="15"/>
                    <a:pt x="27" y="1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800"/>
            </a:p>
          </p:txBody>
        </p:sp>
        <p:sp>
          <p:nvSpPr>
            <p:cNvPr id="50" name="Freeform 8"/>
            <p:cNvSpPr>
              <a:spLocks noChangeAspect="1"/>
            </p:cNvSpPr>
            <p:nvPr/>
          </p:nvSpPr>
          <p:spPr bwMode="gray">
            <a:xfrm>
              <a:off x="2622" y="1413"/>
              <a:ext cx="86" cy="75"/>
            </a:xfrm>
            <a:custGeom>
              <a:avLst/>
              <a:gdLst/>
              <a:ahLst/>
              <a:cxnLst>
                <a:cxn ang="0">
                  <a:pos x="20" y="50"/>
                </a:cxn>
                <a:cxn ang="0">
                  <a:pos x="20" y="50"/>
                </a:cxn>
                <a:cxn ang="0">
                  <a:pos x="0" y="64"/>
                </a:cxn>
                <a:cxn ang="0">
                  <a:pos x="89" y="27"/>
                </a:cxn>
                <a:cxn ang="0">
                  <a:pos x="96" y="0"/>
                </a:cxn>
                <a:cxn ang="0">
                  <a:pos x="20" y="50"/>
                </a:cxn>
              </a:cxnLst>
              <a:rect l="0" t="0" r="r" b="b"/>
              <a:pathLst>
                <a:path w="96" h="79">
                  <a:moveTo>
                    <a:pt x="20" y="50"/>
                  </a:moveTo>
                  <a:lnTo>
                    <a:pt x="20" y="50"/>
                  </a:lnTo>
                  <a:lnTo>
                    <a:pt x="0" y="64"/>
                  </a:lnTo>
                  <a:cubicBezTo>
                    <a:pt x="41" y="79"/>
                    <a:pt x="75" y="57"/>
                    <a:pt x="89" y="27"/>
                  </a:cubicBezTo>
                  <a:lnTo>
                    <a:pt x="96" y="0"/>
                  </a:lnTo>
                  <a:cubicBezTo>
                    <a:pt x="63" y="8"/>
                    <a:pt x="38" y="8"/>
                    <a:pt x="20" y="50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800"/>
            </a:p>
          </p:txBody>
        </p:sp>
        <p:sp>
          <p:nvSpPr>
            <p:cNvPr id="51" name="Freeform 9"/>
            <p:cNvSpPr>
              <a:spLocks noChangeAspect="1"/>
            </p:cNvSpPr>
            <p:nvPr/>
          </p:nvSpPr>
          <p:spPr bwMode="gray">
            <a:xfrm>
              <a:off x="2568" y="1563"/>
              <a:ext cx="75" cy="76"/>
            </a:xfrm>
            <a:custGeom>
              <a:avLst/>
              <a:gdLst/>
              <a:ahLst/>
              <a:cxnLst>
                <a:cxn ang="0">
                  <a:pos x="77" y="22"/>
                </a:cxn>
                <a:cxn ang="0">
                  <a:pos x="77" y="22"/>
                </a:cxn>
                <a:cxn ang="0">
                  <a:pos x="71" y="0"/>
                </a:cxn>
                <a:cxn ang="0">
                  <a:pos x="0" y="44"/>
                </a:cxn>
                <a:cxn ang="0">
                  <a:pos x="0" y="62"/>
                </a:cxn>
                <a:cxn ang="0">
                  <a:pos x="77" y="22"/>
                </a:cxn>
              </a:cxnLst>
              <a:rect l="0" t="0" r="r" b="b"/>
              <a:pathLst>
                <a:path w="77" h="77">
                  <a:moveTo>
                    <a:pt x="77" y="22"/>
                  </a:moveTo>
                  <a:lnTo>
                    <a:pt x="77" y="22"/>
                  </a:lnTo>
                  <a:lnTo>
                    <a:pt x="71" y="0"/>
                  </a:lnTo>
                  <a:cubicBezTo>
                    <a:pt x="38" y="7"/>
                    <a:pt x="14" y="19"/>
                    <a:pt x="0" y="44"/>
                  </a:cubicBezTo>
                  <a:lnTo>
                    <a:pt x="0" y="62"/>
                  </a:lnTo>
                  <a:cubicBezTo>
                    <a:pt x="42" y="77"/>
                    <a:pt x="64" y="40"/>
                    <a:pt x="77" y="22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800"/>
            </a:p>
          </p:txBody>
        </p:sp>
        <p:sp>
          <p:nvSpPr>
            <p:cNvPr id="52" name="Freeform 10"/>
            <p:cNvSpPr>
              <a:spLocks noChangeAspect="1"/>
            </p:cNvSpPr>
            <p:nvPr/>
          </p:nvSpPr>
          <p:spPr bwMode="gray">
            <a:xfrm>
              <a:off x="2547" y="1725"/>
              <a:ext cx="86" cy="64"/>
            </a:xfrm>
            <a:custGeom>
              <a:avLst/>
              <a:gdLst/>
              <a:ahLst/>
              <a:cxnLst>
                <a:cxn ang="0">
                  <a:pos x="0" y="52"/>
                </a:cxn>
                <a:cxn ang="0">
                  <a:pos x="0" y="52"/>
                </a:cxn>
                <a:cxn ang="0">
                  <a:pos x="14" y="60"/>
                </a:cxn>
                <a:cxn ang="0">
                  <a:pos x="73" y="23"/>
                </a:cxn>
                <a:cxn ang="0">
                  <a:pos x="90" y="8"/>
                </a:cxn>
                <a:cxn ang="0">
                  <a:pos x="0" y="52"/>
                </a:cxn>
              </a:cxnLst>
              <a:rect l="0" t="0" r="r" b="b"/>
              <a:pathLst>
                <a:path w="90" h="74">
                  <a:moveTo>
                    <a:pt x="0" y="52"/>
                  </a:moveTo>
                  <a:lnTo>
                    <a:pt x="0" y="52"/>
                  </a:lnTo>
                  <a:lnTo>
                    <a:pt x="14" y="60"/>
                  </a:lnTo>
                  <a:cubicBezTo>
                    <a:pt x="59" y="74"/>
                    <a:pt x="62" y="38"/>
                    <a:pt x="73" y="23"/>
                  </a:cubicBezTo>
                  <a:lnTo>
                    <a:pt x="90" y="8"/>
                  </a:lnTo>
                  <a:cubicBezTo>
                    <a:pt x="48" y="0"/>
                    <a:pt x="11" y="31"/>
                    <a:pt x="0" y="52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800"/>
            </a:p>
          </p:txBody>
        </p:sp>
        <p:sp>
          <p:nvSpPr>
            <p:cNvPr id="53" name="Freeform 11"/>
            <p:cNvSpPr>
              <a:spLocks noChangeAspect="1"/>
            </p:cNvSpPr>
            <p:nvPr/>
          </p:nvSpPr>
          <p:spPr bwMode="gray">
            <a:xfrm>
              <a:off x="2773" y="1176"/>
              <a:ext cx="86" cy="75"/>
            </a:xfrm>
            <a:custGeom>
              <a:avLst/>
              <a:gdLst/>
              <a:ahLst/>
              <a:cxnLst>
                <a:cxn ang="0">
                  <a:pos x="16" y="4"/>
                </a:cxn>
                <a:cxn ang="0">
                  <a:pos x="16" y="4"/>
                </a:cxn>
                <a:cxn ang="0">
                  <a:pos x="0" y="12"/>
                </a:cxn>
                <a:cxn ang="0">
                  <a:pos x="86" y="49"/>
                </a:cxn>
                <a:cxn ang="0">
                  <a:pos x="88" y="22"/>
                </a:cxn>
                <a:cxn ang="0">
                  <a:pos x="16" y="4"/>
                </a:cxn>
              </a:cxnLst>
              <a:rect l="0" t="0" r="r" b="b"/>
              <a:pathLst>
                <a:path w="88" h="72">
                  <a:moveTo>
                    <a:pt x="16" y="4"/>
                  </a:moveTo>
                  <a:lnTo>
                    <a:pt x="16" y="4"/>
                  </a:lnTo>
                  <a:lnTo>
                    <a:pt x="0" y="12"/>
                  </a:lnTo>
                  <a:cubicBezTo>
                    <a:pt x="4" y="40"/>
                    <a:pt x="70" y="72"/>
                    <a:pt x="86" y="49"/>
                  </a:cubicBezTo>
                  <a:lnTo>
                    <a:pt x="88" y="22"/>
                  </a:lnTo>
                  <a:cubicBezTo>
                    <a:pt x="67" y="8"/>
                    <a:pt x="45" y="0"/>
                    <a:pt x="16" y="4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800"/>
            </a:p>
          </p:txBody>
        </p:sp>
        <p:sp>
          <p:nvSpPr>
            <p:cNvPr id="54" name="Freeform 12"/>
            <p:cNvSpPr>
              <a:spLocks noChangeAspect="1"/>
            </p:cNvSpPr>
            <p:nvPr/>
          </p:nvSpPr>
          <p:spPr bwMode="gray">
            <a:xfrm>
              <a:off x="2955" y="1111"/>
              <a:ext cx="76" cy="87"/>
            </a:xfrm>
            <a:custGeom>
              <a:avLst/>
              <a:gdLst/>
              <a:ahLst/>
              <a:cxnLst>
                <a:cxn ang="0">
                  <a:pos x="46" y="7"/>
                </a:cxn>
                <a:cxn ang="0">
                  <a:pos x="46" y="7"/>
                </a:cxn>
                <a:cxn ang="0">
                  <a:pos x="21" y="0"/>
                </a:cxn>
                <a:cxn ang="0">
                  <a:pos x="14" y="66"/>
                </a:cxn>
                <a:cxn ang="0">
                  <a:pos x="27" y="92"/>
                </a:cxn>
                <a:cxn ang="0">
                  <a:pos x="46" y="7"/>
                </a:cxn>
              </a:cxnLst>
              <a:rect l="0" t="0" r="r" b="b"/>
              <a:pathLst>
                <a:path w="86" h="92">
                  <a:moveTo>
                    <a:pt x="46" y="7"/>
                  </a:moveTo>
                  <a:lnTo>
                    <a:pt x="46" y="7"/>
                  </a:lnTo>
                  <a:lnTo>
                    <a:pt x="21" y="0"/>
                  </a:lnTo>
                  <a:cubicBezTo>
                    <a:pt x="7" y="19"/>
                    <a:pt x="0" y="33"/>
                    <a:pt x="14" y="66"/>
                  </a:cubicBezTo>
                  <a:lnTo>
                    <a:pt x="27" y="92"/>
                  </a:lnTo>
                  <a:cubicBezTo>
                    <a:pt x="57" y="63"/>
                    <a:pt x="86" y="36"/>
                    <a:pt x="46" y="7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800"/>
            </a:p>
          </p:txBody>
        </p:sp>
        <p:sp>
          <p:nvSpPr>
            <p:cNvPr id="55" name="Freeform 13"/>
            <p:cNvSpPr>
              <a:spLocks noChangeAspect="1" noEditPoints="1"/>
            </p:cNvSpPr>
            <p:nvPr/>
          </p:nvSpPr>
          <p:spPr bwMode="gray">
            <a:xfrm>
              <a:off x="3149" y="929"/>
              <a:ext cx="667" cy="1678"/>
            </a:xfrm>
            <a:custGeom>
              <a:avLst/>
              <a:gdLst/>
              <a:ahLst/>
              <a:cxnLst>
                <a:cxn ang="0">
                  <a:pos x="451" y="808"/>
                </a:cxn>
                <a:cxn ang="0">
                  <a:pos x="451" y="808"/>
                </a:cxn>
                <a:cxn ang="0">
                  <a:pos x="326" y="776"/>
                </a:cxn>
                <a:cxn ang="0">
                  <a:pos x="477" y="746"/>
                </a:cxn>
                <a:cxn ang="0">
                  <a:pos x="493" y="773"/>
                </a:cxn>
                <a:cxn ang="0">
                  <a:pos x="451" y="808"/>
                </a:cxn>
                <a:cxn ang="0">
                  <a:pos x="451" y="808"/>
                </a:cxn>
                <a:cxn ang="0">
                  <a:pos x="639" y="841"/>
                </a:cxn>
                <a:cxn ang="0">
                  <a:pos x="639" y="841"/>
                </a:cxn>
                <a:cxn ang="0">
                  <a:pos x="601" y="701"/>
                </a:cxn>
                <a:cxn ang="0">
                  <a:pos x="634" y="646"/>
                </a:cxn>
                <a:cxn ang="0">
                  <a:pos x="627" y="477"/>
                </a:cxn>
                <a:cxn ang="0">
                  <a:pos x="641" y="463"/>
                </a:cxn>
                <a:cxn ang="0">
                  <a:pos x="627" y="414"/>
                </a:cxn>
                <a:cxn ang="0">
                  <a:pos x="615" y="342"/>
                </a:cxn>
                <a:cxn ang="0">
                  <a:pos x="590" y="286"/>
                </a:cxn>
                <a:cxn ang="0">
                  <a:pos x="602" y="260"/>
                </a:cxn>
                <a:cxn ang="0">
                  <a:pos x="560" y="236"/>
                </a:cxn>
                <a:cxn ang="0">
                  <a:pos x="523" y="213"/>
                </a:cxn>
                <a:cxn ang="0">
                  <a:pos x="514" y="180"/>
                </a:cxn>
                <a:cxn ang="0">
                  <a:pos x="483" y="195"/>
                </a:cxn>
                <a:cxn ang="0">
                  <a:pos x="476" y="154"/>
                </a:cxn>
                <a:cxn ang="0">
                  <a:pos x="434" y="171"/>
                </a:cxn>
                <a:cxn ang="0">
                  <a:pos x="411" y="119"/>
                </a:cxn>
                <a:cxn ang="0">
                  <a:pos x="389" y="124"/>
                </a:cxn>
                <a:cxn ang="0">
                  <a:pos x="356" y="150"/>
                </a:cxn>
                <a:cxn ang="0">
                  <a:pos x="356" y="101"/>
                </a:cxn>
                <a:cxn ang="0">
                  <a:pos x="341" y="93"/>
                </a:cxn>
                <a:cxn ang="0">
                  <a:pos x="314" y="81"/>
                </a:cxn>
                <a:cxn ang="0">
                  <a:pos x="276" y="97"/>
                </a:cxn>
                <a:cxn ang="0">
                  <a:pos x="292" y="51"/>
                </a:cxn>
                <a:cxn ang="0">
                  <a:pos x="244" y="106"/>
                </a:cxn>
                <a:cxn ang="0">
                  <a:pos x="216" y="112"/>
                </a:cxn>
                <a:cxn ang="0">
                  <a:pos x="266" y="43"/>
                </a:cxn>
                <a:cxn ang="0">
                  <a:pos x="214" y="91"/>
                </a:cxn>
                <a:cxn ang="0">
                  <a:pos x="173" y="98"/>
                </a:cxn>
                <a:cxn ang="0">
                  <a:pos x="186" y="38"/>
                </a:cxn>
                <a:cxn ang="0">
                  <a:pos x="173" y="69"/>
                </a:cxn>
                <a:cxn ang="0">
                  <a:pos x="166" y="36"/>
                </a:cxn>
                <a:cxn ang="0">
                  <a:pos x="142" y="114"/>
                </a:cxn>
                <a:cxn ang="0">
                  <a:pos x="126" y="39"/>
                </a:cxn>
                <a:cxn ang="0">
                  <a:pos x="80" y="112"/>
                </a:cxn>
                <a:cxn ang="0">
                  <a:pos x="56" y="117"/>
                </a:cxn>
                <a:cxn ang="0">
                  <a:pos x="37" y="43"/>
                </a:cxn>
                <a:cxn ang="0">
                  <a:pos x="5" y="1808"/>
                </a:cxn>
                <a:cxn ang="0">
                  <a:pos x="0" y="1840"/>
                </a:cxn>
                <a:cxn ang="0">
                  <a:pos x="162" y="1823"/>
                </a:cxn>
                <a:cxn ang="0">
                  <a:pos x="529" y="1842"/>
                </a:cxn>
                <a:cxn ang="0">
                  <a:pos x="614" y="1829"/>
                </a:cxn>
                <a:cxn ang="0">
                  <a:pos x="421" y="1778"/>
                </a:cxn>
                <a:cxn ang="0">
                  <a:pos x="272" y="1664"/>
                </a:cxn>
                <a:cxn ang="0">
                  <a:pos x="237" y="1566"/>
                </a:cxn>
                <a:cxn ang="0">
                  <a:pos x="239" y="1432"/>
                </a:cxn>
                <a:cxn ang="0">
                  <a:pos x="315" y="1404"/>
                </a:cxn>
                <a:cxn ang="0">
                  <a:pos x="586" y="1387"/>
                </a:cxn>
                <a:cxn ang="0">
                  <a:pos x="605" y="1286"/>
                </a:cxn>
                <a:cxn ang="0">
                  <a:pos x="609" y="1223"/>
                </a:cxn>
                <a:cxn ang="0">
                  <a:pos x="630" y="1174"/>
                </a:cxn>
                <a:cxn ang="0">
                  <a:pos x="590" y="1133"/>
                </a:cxn>
                <a:cxn ang="0">
                  <a:pos x="650" y="1082"/>
                </a:cxn>
                <a:cxn ang="0">
                  <a:pos x="621" y="1018"/>
                </a:cxn>
                <a:cxn ang="0">
                  <a:pos x="704" y="959"/>
                </a:cxn>
                <a:cxn ang="0">
                  <a:pos x="639" y="841"/>
                </a:cxn>
              </a:cxnLst>
              <a:rect l="0" t="0" r="r" b="b"/>
              <a:pathLst>
                <a:path w="724" h="1845">
                  <a:moveTo>
                    <a:pt x="451" y="808"/>
                  </a:moveTo>
                  <a:lnTo>
                    <a:pt x="451" y="808"/>
                  </a:lnTo>
                  <a:cubicBezTo>
                    <a:pt x="397" y="820"/>
                    <a:pt x="315" y="783"/>
                    <a:pt x="326" y="776"/>
                  </a:cubicBezTo>
                  <a:cubicBezTo>
                    <a:pt x="353" y="757"/>
                    <a:pt x="416" y="725"/>
                    <a:pt x="477" y="746"/>
                  </a:cubicBezTo>
                  <a:cubicBezTo>
                    <a:pt x="488" y="750"/>
                    <a:pt x="492" y="760"/>
                    <a:pt x="493" y="773"/>
                  </a:cubicBezTo>
                  <a:cubicBezTo>
                    <a:pt x="496" y="804"/>
                    <a:pt x="471" y="805"/>
                    <a:pt x="451" y="808"/>
                  </a:cubicBezTo>
                  <a:lnTo>
                    <a:pt x="451" y="808"/>
                  </a:lnTo>
                  <a:close/>
                  <a:moveTo>
                    <a:pt x="639" y="841"/>
                  </a:moveTo>
                  <a:lnTo>
                    <a:pt x="639" y="841"/>
                  </a:lnTo>
                  <a:cubicBezTo>
                    <a:pt x="610" y="803"/>
                    <a:pt x="557" y="751"/>
                    <a:pt x="601" y="701"/>
                  </a:cubicBezTo>
                  <a:cubicBezTo>
                    <a:pt x="624" y="684"/>
                    <a:pt x="631" y="670"/>
                    <a:pt x="634" y="646"/>
                  </a:cubicBezTo>
                  <a:cubicBezTo>
                    <a:pt x="644" y="560"/>
                    <a:pt x="639" y="524"/>
                    <a:pt x="627" y="477"/>
                  </a:cubicBezTo>
                  <a:cubicBezTo>
                    <a:pt x="629" y="473"/>
                    <a:pt x="638" y="478"/>
                    <a:pt x="641" y="463"/>
                  </a:cubicBezTo>
                  <a:cubicBezTo>
                    <a:pt x="650" y="422"/>
                    <a:pt x="627" y="414"/>
                    <a:pt x="627" y="414"/>
                  </a:cubicBezTo>
                  <a:cubicBezTo>
                    <a:pt x="645" y="399"/>
                    <a:pt x="643" y="342"/>
                    <a:pt x="615" y="342"/>
                  </a:cubicBezTo>
                  <a:cubicBezTo>
                    <a:pt x="631" y="317"/>
                    <a:pt x="617" y="277"/>
                    <a:pt x="590" y="286"/>
                  </a:cubicBezTo>
                  <a:cubicBezTo>
                    <a:pt x="590" y="286"/>
                    <a:pt x="604" y="278"/>
                    <a:pt x="602" y="260"/>
                  </a:cubicBezTo>
                  <a:cubicBezTo>
                    <a:pt x="599" y="224"/>
                    <a:pt x="547" y="259"/>
                    <a:pt x="560" y="236"/>
                  </a:cubicBezTo>
                  <a:cubicBezTo>
                    <a:pt x="567" y="223"/>
                    <a:pt x="538" y="180"/>
                    <a:pt x="523" y="213"/>
                  </a:cubicBezTo>
                  <a:cubicBezTo>
                    <a:pt x="515" y="207"/>
                    <a:pt x="529" y="187"/>
                    <a:pt x="514" y="180"/>
                  </a:cubicBezTo>
                  <a:cubicBezTo>
                    <a:pt x="504" y="181"/>
                    <a:pt x="495" y="188"/>
                    <a:pt x="483" y="195"/>
                  </a:cubicBezTo>
                  <a:cubicBezTo>
                    <a:pt x="479" y="181"/>
                    <a:pt x="494" y="174"/>
                    <a:pt x="476" y="154"/>
                  </a:cubicBezTo>
                  <a:cubicBezTo>
                    <a:pt x="452" y="138"/>
                    <a:pt x="451" y="162"/>
                    <a:pt x="434" y="171"/>
                  </a:cubicBezTo>
                  <a:cubicBezTo>
                    <a:pt x="404" y="164"/>
                    <a:pt x="476" y="146"/>
                    <a:pt x="411" y="119"/>
                  </a:cubicBezTo>
                  <a:cubicBezTo>
                    <a:pt x="395" y="159"/>
                    <a:pt x="396" y="130"/>
                    <a:pt x="389" y="124"/>
                  </a:cubicBezTo>
                  <a:cubicBezTo>
                    <a:pt x="384" y="121"/>
                    <a:pt x="375" y="131"/>
                    <a:pt x="356" y="150"/>
                  </a:cubicBezTo>
                  <a:cubicBezTo>
                    <a:pt x="366" y="124"/>
                    <a:pt x="388" y="92"/>
                    <a:pt x="356" y="101"/>
                  </a:cubicBezTo>
                  <a:cubicBezTo>
                    <a:pt x="320" y="117"/>
                    <a:pt x="341" y="96"/>
                    <a:pt x="341" y="93"/>
                  </a:cubicBezTo>
                  <a:cubicBezTo>
                    <a:pt x="372" y="79"/>
                    <a:pt x="312" y="45"/>
                    <a:pt x="314" y="81"/>
                  </a:cubicBezTo>
                  <a:cubicBezTo>
                    <a:pt x="313" y="105"/>
                    <a:pt x="261" y="126"/>
                    <a:pt x="276" y="97"/>
                  </a:cubicBezTo>
                  <a:cubicBezTo>
                    <a:pt x="286" y="60"/>
                    <a:pt x="331" y="116"/>
                    <a:pt x="292" y="51"/>
                  </a:cubicBezTo>
                  <a:cubicBezTo>
                    <a:pt x="268" y="78"/>
                    <a:pt x="248" y="96"/>
                    <a:pt x="244" y="106"/>
                  </a:cubicBezTo>
                  <a:cubicBezTo>
                    <a:pt x="225" y="181"/>
                    <a:pt x="236" y="113"/>
                    <a:pt x="216" y="112"/>
                  </a:cubicBezTo>
                  <a:cubicBezTo>
                    <a:pt x="242" y="94"/>
                    <a:pt x="276" y="63"/>
                    <a:pt x="266" y="43"/>
                  </a:cubicBezTo>
                  <a:cubicBezTo>
                    <a:pt x="237" y="41"/>
                    <a:pt x="172" y="87"/>
                    <a:pt x="214" y="91"/>
                  </a:cubicBezTo>
                  <a:cubicBezTo>
                    <a:pt x="211" y="106"/>
                    <a:pt x="187" y="123"/>
                    <a:pt x="173" y="98"/>
                  </a:cubicBezTo>
                  <a:cubicBezTo>
                    <a:pt x="196" y="92"/>
                    <a:pt x="235" y="15"/>
                    <a:pt x="186" y="38"/>
                  </a:cubicBezTo>
                  <a:cubicBezTo>
                    <a:pt x="181" y="42"/>
                    <a:pt x="181" y="56"/>
                    <a:pt x="173" y="69"/>
                  </a:cubicBezTo>
                  <a:cubicBezTo>
                    <a:pt x="161" y="58"/>
                    <a:pt x="170" y="42"/>
                    <a:pt x="166" y="36"/>
                  </a:cubicBezTo>
                  <a:cubicBezTo>
                    <a:pt x="127" y="0"/>
                    <a:pt x="141" y="93"/>
                    <a:pt x="142" y="114"/>
                  </a:cubicBezTo>
                  <a:cubicBezTo>
                    <a:pt x="92" y="82"/>
                    <a:pt x="139" y="91"/>
                    <a:pt x="126" y="39"/>
                  </a:cubicBezTo>
                  <a:cubicBezTo>
                    <a:pt x="84" y="47"/>
                    <a:pt x="73" y="64"/>
                    <a:pt x="80" y="112"/>
                  </a:cubicBezTo>
                  <a:cubicBezTo>
                    <a:pt x="74" y="123"/>
                    <a:pt x="63" y="149"/>
                    <a:pt x="56" y="117"/>
                  </a:cubicBezTo>
                  <a:cubicBezTo>
                    <a:pt x="79" y="87"/>
                    <a:pt x="77" y="44"/>
                    <a:pt x="37" y="43"/>
                  </a:cubicBezTo>
                  <a:cubicBezTo>
                    <a:pt x="101" y="631"/>
                    <a:pt x="97" y="1225"/>
                    <a:pt x="5" y="1808"/>
                  </a:cubicBezTo>
                  <a:lnTo>
                    <a:pt x="0" y="1840"/>
                  </a:lnTo>
                  <a:cubicBezTo>
                    <a:pt x="46" y="1839"/>
                    <a:pt x="113" y="1825"/>
                    <a:pt x="162" y="1823"/>
                  </a:cubicBezTo>
                  <a:cubicBezTo>
                    <a:pt x="301" y="1827"/>
                    <a:pt x="298" y="1845"/>
                    <a:pt x="529" y="1842"/>
                  </a:cubicBezTo>
                  <a:cubicBezTo>
                    <a:pt x="582" y="1837"/>
                    <a:pt x="597" y="1829"/>
                    <a:pt x="614" y="1829"/>
                  </a:cubicBezTo>
                  <a:cubicBezTo>
                    <a:pt x="597" y="1758"/>
                    <a:pt x="481" y="1798"/>
                    <a:pt x="421" y="1778"/>
                  </a:cubicBezTo>
                  <a:cubicBezTo>
                    <a:pt x="321" y="1768"/>
                    <a:pt x="304" y="1708"/>
                    <a:pt x="272" y="1664"/>
                  </a:cubicBezTo>
                  <a:cubicBezTo>
                    <a:pt x="258" y="1639"/>
                    <a:pt x="237" y="1608"/>
                    <a:pt x="237" y="1566"/>
                  </a:cubicBezTo>
                  <a:cubicBezTo>
                    <a:pt x="230" y="1513"/>
                    <a:pt x="240" y="1484"/>
                    <a:pt x="239" y="1432"/>
                  </a:cubicBezTo>
                  <a:cubicBezTo>
                    <a:pt x="243" y="1393"/>
                    <a:pt x="287" y="1401"/>
                    <a:pt x="315" y="1404"/>
                  </a:cubicBezTo>
                  <a:cubicBezTo>
                    <a:pt x="402" y="1413"/>
                    <a:pt x="547" y="1399"/>
                    <a:pt x="586" y="1387"/>
                  </a:cubicBezTo>
                  <a:cubicBezTo>
                    <a:pt x="641" y="1371"/>
                    <a:pt x="642" y="1337"/>
                    <a:pt x="605" y="1286"/>
                  </a:cubicBezTo>
                  <a:cubicBezTo>
                    <a:pt x="597" y="1261"/>
                    <a:pt x="598" y="1245"/>
                    <a:pt x="609" y="1223"/>
                  </a:cubicBezTo>
                  <a:cubicBezTo>
                    <a:pt x="625" y="1206"/>
                    <a:pt x="644" y="1195"/>
                    <a:pt x="630" y="1174"/>
                  </a:cubicBezTo>
                  <a:cubicBezTo>
                    <a:pt x="630" y="1174"/>
                    <a:pt x="504" y="1147"/>
                    <a:pt x="590" y="1133"/>
                  </a:cubicBezTo>
                  <a:cubicBezTo>
                    <a:pt x="679" y="1118"/>
                    <a:pt x="650" y="1082"/>
                    <a:pt x="650" y="1082"/>
                  </a:cubicBezTo>
                  <a:cubicBezTo>
                    <a:pt x="650" y="1082"/>
                    <a:pt x="635" y="1045"/>
                    <a:pt x="621" y="1018"/>
                  </a:cubicBezTo>
                  <a:cubicBezTo>
                    <a:pt x="611" y="998"/>
                    <a:pt x="695" y="991"/>
                    <a:pt x="704" y="959"/>
                  </a:cubicBezTo>
                  <a:cubicBezTo>
                    <a:pt x="724" y="932"/>
                    <a:pt x="661" y="871"/>
                    <a:pt x="639" y="841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800"/>
            </a:p>
          </p:txBody>
        </p:sp>
        <p:sp>
          <p:nvSpPr>
            <p:cNvPr id="56" name="Freeform 14"/>
            <p:cNvSpPr>
              <a:spLocks noChangeAspect="1"/>
            </p:cNvSpPr>
            <p:nvPr/>
          </p:nvSpPr>
          <p:spPr bwMode="gray">
            <a:xfrm>
              <a:off x="1352" y="681"/>
              <a:ext cx="1829" cy="3153"/>
            </a:xfrm>
            <a:custGeom>
              <a:avLst/>
              <a:gdLst/>
              <a:ahLst/>
              <a:cxnLst>
                <a:cxn ang="0">
                  <a:pos x="1974" y="2106"/>
                </a:cxn>
                <a:cxn ang="0">
                  <a:pos x="0" y="3449"/>
                </a:cxn>
                <a:cxn ang="0">
                  <a:pos x="1972" y="0"/>
                </a:cxn>
                <a:cxn ang="0">
                  <a:pos x="1980" y="347"/>
                </a:cxn>
                <a:cxn ang="0">
                  <a:pos x="1982" y="392"/>
                </a:cxn>
                <a:cxn ang="0">
                  <a:pos x="1923" y="324"/>
                </a:cxn>
                <a:cxn ang="0">
                  <a:pos x="1878" y="384"/>
                </a:cxn>
                <a:cxn ang="0">
                  <a:pos x="1858" y="411"/>
                </a:cxn>
                <a:cxn ang="0">
                  <a:pos x="1823" y="348"/>
                </a:cxn>
                <a:cxn ang="0">
                  <a:pos x="1766" y="359"/>
                </a:cxn>
                <a:cxn ang="0">
                  <a:pos x="1702" y="494"/>
                </a:cxn>
                <a:cxn ang="0">
                  <a:pos x="1680" y="420"/>
                </a:cxn>
                <a:cxn ang="0">
                  <a:pos x="1605" y="427"/>
                </a:cxn>
                <a:cxn ang="0">
                  <a:pos x="1609" y="499"/>
                </a:cxn>
                <a:cxn ang="0">
                  <a:pos x="1520" y="498"/>
                </a:cxn>
                <a:cxn ang="0">
                  <a:pos x="1513" y="560"/>
                </a:cxn>
                <a:cxn ang="0">
                  <a:pos x="1407" y="521"/>
                </a:cxn>
                <a:cxn ang="0">
                  <a:pos x="1521" y="578"/>
                </a:cxn>
                <a:cxn ang="0">
                  <a:pos x="1453" y="612"/>
                </a:cxn>
                <a:cxn ang="0">
                  <a:pos x="1441" y="603"/>
                </a:cxn>
                <a:cxn ang="0">
                  <a:pos x="1404" y="640"/>
                </a:cxn>
                <a:cxn ang="0">
                  <a:pos x="1448" y="632"/>
                </a:cxn>
                <a:cxn ang="0">
                  <a:pos x="1433" y="703"/>
                </a:cxn>
                <a:cxn ang="0">
                  <a:pos x="1392" y="719"/>
                </a:cxn>
                <a:cxn ang="0">
                  <a:pos x="1410" y="785"/>
                </a:cxn>
                <a:cxn ang="0">
                  <a:pos x="1321" y="761"/>
                </a:cxn>
                <a:cxn ang="0">
                  <a:pos x="1255" y="760"/>
                </a:cxn>
                <a:cxn ang="0">
                  <a:pos x="1205" y="829"/>
                </a:cxn>
                <a:cxn ang="0">
                  <a:pos x="1350" y="845"/>
                </a:cxn>
                <a:cxn ang="0">
                  <a:pos x="1308" y="881"/>
                </a:cxn>
                <a:cxn ang="0">
                  <a:pos x="1308" y="953"/>
                </a:cxn>
                <a:cxn ang="0">
                  <a:pos x="1358" y="951"/>
                </a:cxn>
                <a:cxn ang="0">
                  <a:pos x="1319" y="1061"/>
                </a:cxn>
                <a:cxn ang="0">
                  <a:pos x="1324" y="1115"/>
                </a:cxn>
                <a:cxn ang="0">
                  <a:pos x="1283" y="1185"/>
                </a:cxn>
                <a:cxn ang="0">
                  <a:pos x="1257" y="1226"/>
                </a:cxn>
                <a:cxn ang="0">
                  <a:pos x="1285" y="1267"/>
                </a:cxn>
                <a:cxn ang="0">
                  <a:pos x="1314" y="1311"/>
                </a:cxn>
                <a:cxn ang="0">
                  <a:pos x="1363" y="1376"/>
                </a:cxn>
                <a:cxn ang="0">
                  <a:pos x="1438" y="1413"/>
                </a:cxn>
                <a:cxn ang="0">
                  <a:pos x="1494" y="1379"/>
                </a:cxn>
                <a:cxn ang="0">
                  <a:pos x="1513" y="1471"/>
                </a:cxn>
                <a:cxn ang="0">
                  <a:pos x="1605" y="1474"/>
                </a:cxn>
                <a:cxn ang="0">
                  <a:pos x="1584" y="1525"/>
                </a:cxn>
                <a:cxn ang="0">
                  <a:pos x="1618" y="1559"/>
                </a:cxn>
                <a:cxn ang="0">
                  <a:pos x="1644" y="1602"/>
                </a:cxn>
                <a:cxn ang="0">
                  <a:pos x="1700" y="1594"/>
                </a:cxn>
                <a:cxn ang="0">
                  <a:pos x="1729" y="1535"/>
                </a:cxn>
                <a:cxn ang="0">
                  <a:pos x="1794" y="1574"/>
                </a:cxn>
                <a:cxn ang="0">
                  <a:pos x="1808" y="1711"/>
                </a:cxn>
                <a:cxn ang="0">
                  <a:pos x="1870" y="1688"/>
                </a:cxn>
                <a:cxn ang="0">
                  <a:pos x="1839" y="1844"/>
                </a:cxn>
                <a:cxn ang="0">
                  <a:pos x="1446" y="2092"/>
                </a:cxn>
                <a:cxn ang="0">
                  <a:pos x="1654" y="2103"/>
                </a:cxn>
                <a:cxn ang="0">
                  <a:pos x="1974" y="2105"/>
                </a:cxn>
              </a:cxnLst>
              <a:rect l="0" t="0" r="r" b="b"/>
              <a:pathLst>
                <a:path w="2011" h="3449">
                  <a:moveTo>
                    <a:pt x="1974" y="2106"/>
                  </a:moveTo>
                  <a:lnTo>
                    <a:pt x="1974" y="2106"/>
                  </a:lnTo>
                  <a:cubicBezTo>
                    <a:pt x="1903" y="2543"/>
                    <a:pt x="1782" y="2987"/>
                    <a:pt x="1602" y="3449"/>
                  </a:cubicBezTo>
                  <a:lnTo>
                    <a:pt x="0" y="3449"/>
                  </a:lnTo>
                  <a:lnTo>
                    <a:pt x="0" y="0"/>
                  </a:lnTo>
                  <a:lnTo>
                    <a:pt x="1972" y="0"/>
                  </a:lnTo>
                  <a:cubicBezTo>
                    <a:pt x="1988" y="113"/>
                    <a:pt x="1999" y="197"/>
                    <a:pt x="2011" y="309"/>
                  </a:cubicBezTo>
                  <a:cubicBezTo>
                    <a:pt x="2011" y="309"/>
                    <a:pt x="1977" y="320"/>
                    <a:pt x="1980" y="347"/>
                  </a:cubicBezTo>
                  <a:cubicBezTo>
                    <a:pt x="1984" y="378"/>
                    <a:pt x="1997" y="385"/>
                    <a:pt x="1997" y="385"/>
                  </a:cubicBezTo>
                  <a:lnTo>
                    <a:pt x="1982" y="392"/>
                  </a:lnTo>
                  <a:cubicBezTo>
                    <a:pt x="1982" y="392"/>
                    <a:pt x="1966" y="368"/>
                    <a:pt x="1966" y="369"/>
                  </a:cubicBezTo>
                  <a:cubicBezTo>
                    <a:pt x="1966" y="346"/>
                    <a:pt x="1976" y="311"/>
                    <a:pt x="1923" y="324"/>
                  </a:cubicBezTo>
                  <a:cubicBezTo>
                    <a:pt x="1904" y="365"/>
                    <a:pt x="1952" y="373"/>
                    <a:pt x="1939" y="401"/>
                  </a:cubicBezTo>
                  <a:cubicBezTo>
                    <a:pt x="1883" y="404"/>
                    <a:pt x="1923" y="359"/>
                    <a:pt x="1878" y="384"/>
                  </a:cubicBezTo>
                  <a:cubicBezTo>
                    <a:pt x="1881" y="371"/>
                    <a:pt x="1871" y="336"/>
                    <a:pt x="1857" y="339"/>
                  </a:cubicBezTo>
                  <a:cubicBezTo>
                    <a:pt x="1851" y="358"/>
                    <a:pt x="1836" y="391"/>
                    <a:pt x="1858" y="411"/>
                  </a:cubicBezTo>
                  <a:cubicBezTo>
                    <a:pt x="1851" y="416"/>
                    <a:pt x="1830" y="413"/>
                    <a:pt x="1825" y="406"/>
                  </a:cubicBezTo>
                  <a:cubicBezTo>
                    <a:pt x="1819" y="396"/>
                    <a:pt x="1840" y="379"/>
                    <a:pt x="1823" y="348"/>
                  </a:cubicBezTo>
                  <a:cubicBezTo>
                    <a:pt x="1771" y="371"/>
                    <a:pt x="1819" y="421"/>
                    <a:pt x="1776" y="440"/>
                  </a:cubicBezTo>
                  <a:cubicBezTo>
                    <a:pt x="1729" y="434"/>
                    <a:pt x="1803" y="394"/>
                    <a:pt x="1766" y="359"/>
                  </a:cubicBezTo>
                  <a:cubicBezTo>
                    <a:pt x="1723" y="369"/>
                    <a:pt x="1707" y="413"/>
                    <a:pt x="1724" y="439"/>
                  </a:cubicBezTo>
                  <a:cubicBezTo>
                    <a:pt x="1723" y="462"/>
                    <a:pt x="1705" y="474"/>
                    <a:pt x="1702" y="494"/>
                  </a:cubicBezTo>
                  <a:cubicBezTo>
                    <a:pt x="1681" y="491"/>
                    <a:pt x="1672" y="483"/>
                    <a:pt x="1670" y="475"/>
                  </a:cubicBezTo>
                  <a:cubicBezTo>
                    <a:pt x="1667" y="460"/>
                    <a:pt x="1708" y="453"/>
                    <a:pt x="1680" y="420"/>
                  </a:cubicBezTo>
                  <a:cubicBezTo>
                    <a:pt x="1635" y="427"/>
                    <a:pt x="1665" y="500"/>
                    <a:pt x="1629" y="461"/>
                  </a:cubicBezTo>
                  <a:cubicBezTo>
                    <a:pt x="1626" y="444"/>
                    <a:pt x="1614" y="429"/>
                    <a:pt x="1605" y="427"/>
                  </a:cubicBezTo>
                  <a:cubicBezTo>
                    <a:pt x="1588" y="439"/>
                    <a:pt x="1580" y="459"/>
                    <a:pt x="1591" y="476"/>
                  </a:cubicBezTo>
                  <a:lnTo>
                    <a:pt x="1609" y="499"/>
                  </a:lnTo>
                  <a:cubicBezTo>
                    <a:pt x="1607" y="499"/>
                    <a:pt x="1617" y="513"/>
                    <a:pt x="1615" y="512"/>
                  </a:cubicBezTo>
                  <a:cubicBezTo>
                    <a:pt x="1585" y="488"/>
                    <a:pt x="1545" y="471"/>
                    <a:pt x="1520" y="498"/>
                  </a:cubicBezTo>
                  <a:cubicBezTo>
                    <a:pt x="1523" y="523"/>
                    <a:pt x="1545" y="525"/>
                    <a:pt x="1579" y="533"/>
                  </a:cubicBezTo>
                  <a:cubicBezTo>
                    <a:pt x="1536" y="537"/>
                    <a:pt x="1527" y="552"/>
                    <a:pt x="1513" y="560"/>
                  </a:cubicBezTo>
                  <a:cubicBezTo>
                    <a:pt x="1508" y="532"/>
                    <a:pt x="1475" y="527"/>
                    <a:pt x="1444" y="523"/>
                  </a:cubicBezTo>
                  <a:cubicBezTo>
                    <a:pt x="1426" y="527"/>
                    <a:pt x="1415" y="515"/>
                    <a:pt x="1407" y="521"/>
                  </a:cubicBezTo>
                  <a:cubicBezTo>
                    <a:pt x="1420" y="553"/>
                    <a:pt x="1451" y="578"/>
                    <a:pt x="1490" y="586"/>
                  </a:cubicBezTo>
                  <a:cubicBezTo>
                    <a:pt x="1507" y="584"/>
                    <a:pt x="1509" y="584"/>
                    <a:pt x="1521" y="578"/>
                  </a:cubicBezTo>
                  <a:cubicBezTo>
                    <a:pt x="1544" y="588"/>
                    <a:pt x="1542" y="592"/>
                    <a:pt x="1548" y="608"/>
                  </a:cubicBezTo>
                  <a:cubicBezTo>
                    <a:pt x="1514" y="623"/>
                    <a:pt x="1487" y="604"/>
                    <a:pt x="1453" y="612"/>
                  </a:cubicBezTo>
                  <a:cubicBezTo>
                    <a:pt x="1453" y="614"/>
                    <a:pt x="1445" y="614"/>
                    <a:pt x="1444" y="611"/>
                  </a:cubicBezTo>
                  <a:cubicBezTo>
                    <a:pt x="1445" y="611"/>
                    <a:pt x="1440" y="603"/>
                    <a:pt x="1441" y="603"/>
                  </a:cubicBezTo>
                  <a:cubicBezTo>
                    <a:pt x="1426" y="575"/>
                    <a:pt x="1387" y="586"/>
                    <a:pt x="1366" y="592"/>
                  </a:cubicBezTo>
                  <a:cubicBezTo>
                    <a:pt x="1363" y="614"/>
                    <a:pt x="1386" y="632"/>
                    <a:pt x="1404" y="640"/>
                  </a:cubicBezTo>
                  <a:cubicBezTo>
                    <a:pt x="1429" y="649"/>
                    <a:pt x="1438" y="641"/>
                    <a:pt x="1438" y="641"/>
                  </a:cubicBezTo>
                  <a:lnTo>
                    <a:pt x="1448" y="632"/>
                  </a:lnTo>
                  <a:cubicBezTo>
                    <a:pt x="1459" y="672"/>
                    <a:pt x="1473" y="674"/>
                    <a:pt x="1494" y="690"/>
                  </a:cubicBezTo>
                  <a:cubicBezTo>
                    <a:pt x="1471" y="698"/>
                    <a:pt x="1462" y="705"/>
                    <a:pt x="1433" y="703"/>
                  </a:cubicBezTo>
                  <a:cubicBezTo>
                    <a:pt x="1400" y="652"/>
                    <a:pt x="1301" y="630"/>
                    <a:pt x="1305" y="654"/>
                  </a:cubicBezTo>
                  <a:cubicBezTo>
                    <a:pt x="1319" y="706"/>
                    <a:pt x="1392" y="719"/>
                    <a:pt x="1392" y="719"/>
                  </a:cubicBezTo>
                  <a:cubicBezTo>
                    <a:pt x="1392" y="719"/>
                    <a:pt x="1354" y="733"/>
                    <a:pt x="1360" y="746"/>
                  </a:cubicBezTo>
                  <a:cubicBezTo>
                    <a:pt x="1367" y="758"/>
                    <a:pt x="1417" y="766"/>
                    <a:pt x="1410" y="785"/>
                  </a:cubicBezTo>
                  <a:cubicBezTo>
                    <a:pt x="1358" y="762"/>
                    <a:pt x="1348" y="771"/>
                    <a:pt x="1383" y="817"/>
                  </a:cubicBezTo>
                  <a:cubicBezTo>
                    <a:pt x="1339" y="819"/>
                    <a:pt x="1349" y="772"/>
                    <a:pt x="1321" y="761"/>
                  </a:cubicBezTo>
                  <a:cubicBezTo>
                    <a:pt x="1301" y="775"/>
                    <a:pt x="1313" y="806"/>
                    <a:pt x="1313" y="806"/>
                  </a:cubicBezTo>
                  <a:cubicBezTo>
                    <a:pt x="1303" y="798"/>
                    <a:pt x="1277" y="754"/>
                    <a:pt x="1255" y="760"/>
                  </a:cubicBezTo>
                  <a:cubicBezTo>
                    <a:pt x="1248" y="765"/>
                    <a:pt x="1248" y="789"/>
                    <a:pt x="1265" y="805"/>
                  </a:cubicBezTo>
                  <a:cubicBezTo>
                    <a:pt x="1244" y="809"/>
                    <a:pt x="1210" y="806"/>
                    <a:pt x="1205" y="829"/>
                  </a:cubicBezTo>
                  <a:cubicBezTo>
                    <a:pt x="1239" y="855"/>
                    <a:pt x="1276" y="855"/>
                    <a:pt x="1329" y="849"/>
                  </a:cubicBezTo>
                  <a:cubicBezTo>
                    <a:pt x="1329" y="849"/>
                    <a:pt x="1339" y="848"/>
                    <a:pt x="1350" y="845"/>
                  </a:cubicBezTo>
                  <a:cubicBezTo>
                    <a:pt x="1360" y="842"/>
                    <a:pt x="1375" y="856"/>
                    <a:pt x="1375" y="856"/>
                  </a:cubicBezTo>
                  <a:cubicBezTo>
                    <a:pt x="1349" y="862"/>
                    <a:pt x="1360" y="870"/>
                    <a:pt x="1308" y="881"/>
                  </a:cubicBezTo>
                  <a:cubicBezTo>
                    <a:pt x="1274" y="897"/>
                    <a:pt x="1247" y="918"/>
                    <a:pt x="1247" y="953"/>
                  </a:cubicBezTo>
                  <a:cubicBezTo>
                    <a:pt x="1268" y="963"/>
                    <a:pt x="1294" y="973"/>
                    <a:pt x="1308" y="953"/>
                  </a:cubicBezTo>
                  <a:cubicBezTo>
                    <a:pt x="1331" y="920"/>
                    <a:pt x="1324" y="946"/>
                    <a:pt x="1340" y="945"/>
                  </a:cubicBezTo>
                  <a:lnTo>
                    <a:pt x="1358" y="951"/>
                  </a:lnTo>
                  <a:cubicBezTo>
                    <a:pt x="1344" y="986"/>
                    <a:pt x="1264" y="985"/>
                    <a:pt x="1279" y="1011"/>
                  </a:cubicBezTo>
                  <a:cubicBezTo>
                    <a:pt x="1295" y="1035"/>
                    <a:pt x="1319" y="1061"/>
                    <a:pt x="1319" y="1061"/>
                  </a:cubicBezTo>
                  <a:cubicBezTo>
                    <a:pt x="1319" y="1061"/>
                    <a:pt x="1263" y="1032"/>
                    <a:pt x="1247" y="1053"/>
                  </a:cubicBezTo>
                  <a:cubicBezTo>
                    <a:pt x="1232" y="1071"/>
                    <a:pt x="1265" y="1102"/>
                    <a:pt x="1324" y="1115"/>
                  </a:cubicBezTo>
                  <a:cubicBezTo>
                    <a:pt x="1304" y="1128"/>
                    <a:pt x="1233" y="1115"/>
                    <a:pt x="1276" y="1160"/>
                  </a:cubicBezTo>
                  <a:cubicBezTo>
                    <a:pt x="1225" y="1181"/>
                    <a:pt x="1242" y="1196"/>
                    <a:pt x="1283" y="1185"/>
                  </a:cubicBezTo>
                  <a:lnTo>
                    <a:pt x="1303" y="1188"/>
                  </a:lnTo>
                  <a:cubicBezTo>
                    <a:pt x="1291" y="1196"/>
                    <a:pt x="1254" y="1213"/>
                    <a:pt x="1257" y="1226"/>
                  </a:cubicBezTo>
                  <a:cubicBezTo>
                    <a:pt x="1259" y="1243"/>
                    <a:pt x="1300" y="1222"/>
                    <a:pt x="1307" y="1235"/>
                  </a:cubicBezTo>
                  <a:cubicBezTo>
                    <a:pt x="1310" y="1254"/>
                    <a:pt x="1287" y="1262"/>
                    <a:pt x="1285" y="1267"/>
                  </a:cubicBezTo>
                  <a:cubicBezTo>
                    <a:pt x="1314" y="1286"/>
                    <a:pt x="1331" y="1241"/>
                    <a:pt x="1358" y="1267"/>
                  </a:cubicBezTo>
                  <a:cubicBezTo>
                    <a:pt x="1348" y="1286"/>
                    <a:pt x="1305" y="1282"/>
                    <a:pt x="1314" y="1311"/>
                  </a:cubicBezTo>
                  <a:cubicBezTo>
                    <a:pt x="1330" y="1323"/>
                    <a:pt x="1357" y="1318"/>
                    <a:pt x="1373" y="1329"/>
                  </a:cubicBezTo>
                  <a:cubicBezTo>
                    <a:pt x="1373" y="1329"/>
                    <a:pt x="1351" y="1371"/>
                    <a:pt x="1363" y="1376"/>
                  </a:cubicBezTo>
                  <a:cubicBezTo>
                    <a:pt x="1386" y="1388"/>
                    <a:pt x="1408" y="1351"/>
                    <a:pt x="1416" y="1349"/>
                  </a:cubicBezTo>
                  <a:cubicBezTo>
                    <a:pt x="1410" y="1396"/>
                    <a:pt x="1450" y="1380"/>
                    <a:pt x="1438" y="1413"/>
                  </a:cubicBezTo>
                  <a:cubicBezTo>
                    <a:pt x="1438" y="1430"/>
                    <a:pt x="1436" y="1454"/>
                    <a:pt x="1454" y="1463"/>
                  </a:cubicBezTo>
                  <a:cubicBezTo>
                    <a:pt x="1491" y="1452"/>
                    <a:pt x="1495" y="1423"/>
                    <a:pt x="1494" y="1379"/>
                  </a:cubicBezTo>
                  <a:cubicBezTo>
                    <a:pt x="1494" y="1364"/>
                    <a:pt x="1537" y="1389"/>
                    <a:pt x="1537" y="1389"/>
                  </a:cubicBezTo>
                  <a:cubicBezTo>
                    <a:pt x="1563" y="1410"/>
                    <a:pt x="1492" y="1426"/>
                    <a:pt x="1513" y="1471"/>
                  </a:cubicBezTo>
                  <a:cubicBezTo>
                    <a:pt x="1573" y="1479"/>
                    <a:pt x="1573" y="1428"/>
                    <a:pt x="1621" y="1419"/>
                  </a:cubicBezTo>
                  <a:cubicBezTo>
                    <a:pt x="1643" y="1433"/>
                    <a:pt x="1612" y="1457"/>
                    <a:pt x="1605" y="1474"/>
                  </a:cubicBezTo>
                  <a:cubicBezTo>
                    <a:pt x="1575" y="1491"/>
                    <a:pt x="1538" y="1471"/>
                    <a:pt x="1509" y="1530"/>
                  </a:cubicBezTo>
                  <a:cubicBezTo>
                    <a:pt x="1551" y="1546"/>
                    <a:pt x="1570" y="1533"/>
                    <a:pt x="1584" y="1525"/>
                  </a:cubicBezTo>
                  <a:cubicBezTo>
                    <a:pt x="1597" y="1516"/>
                    <a:pt x="1596" y="1511"/>
                    <a:pt x="1606" y="1507"/>
                  </a:cubicBezTo>
                  <a:cubicBezTo>
                    <a:pt x="1607" y="1523"/>
                    <a:pt x="1603" y="1553"/>
                    <a:pt x="1618" y="1559"/>
                  </a:cubicBezTo>
                  <a:cubicBezTo>
                    <a:pt x="1632" y="1558"/>
                    <a:pt x="1633" y="1553"/>
                    <a:pt x="1645" y="1546"/>
                  </a:cubicBezTo>
                  <a:cubicBezTo>
                    <a:pt x="1657" y="1558"/>
                    <a:pt x="1626" y="1589"/>
                    <a:pt x="1644" y="1602"/>
                  </a:cubicBezTo>
                  <a:cubicBezTo>
                    <a:pt x="1661" y="1599"/>
                    <a:pt x="1667" y="1583"/>
                    <a:pt x="1667" y="1583"/>
                  </a:cubicBezTo>
                  <a:cubicBezTo>
                    <a:pt x="1677" y="1597"/>
                    <a:pt x="1689" y="1597"/>
                    <a:pt x="1700" y="1594"/>
                  </a:cubicBezTo>
                  <a:cubicBezTo>
                    <a:pt x="1706" y="1579"/>
                    <a:pt x="1707" y="1545"/>
                    <a:pt x="1688" y="1533"/>
                  </a:cubicBezTo>
                  <a:cubicBezTo>
                    <a:pt x="1697" y="1522"/>
                    <a:pt x="1720" y="1543"/>
                    <a:pt x="1729" y="1535"/>
                  </a:cubicBezTo>
                  <a:cubicBezTo>
                    <a:pt x="1748" y="1557"/>
                    <a:pt x="1707" y="1600"/>
                    <a:pt x="1737" y="1618"/>
                  </a:cubicBezTo>
                  <a:cubicBezTo>
                    <a:pt x="1766" y="1615"/>
                    <a:pt x="1765" y="1586"/>
                    <a:pt x="1794" y="1574"/>
                  </a:cubicBezTo>
                  <a:cubicBezTo>
                    <a:pt x="1789" y="1604"/>
                    <a:pt x="1824" y="1626"/>
                    <a:pt x="1779" y="1648"/>
                  </a:cubicBezTo>
                  <a:cubicBezTo>
                    <a:pt x="1779" y="1677"/>
                    <a:pt x="1834" y="1669"/>
                    <a:pt x="1808" y="1711"/>
                  </a:cubicBezTo>
                  <a:cubicBezTo>
                    <a:pt x="1818" y="1728"/>
                    <a:pt x="1831" y="1721"/>
                    <a:pt x="1843" y="1718"/>
                  </a:cubicBezTo>
                  <a:lnTo>
                    <a:pt x="1870" y="1688"/>
                  </a:lnTo>
                  <a:cubicBezTo>
                    <a:pt x="1862" y="1712"/>
                    <a:pt x="1860" y="1750"/>
                    <a:pt x="1867" y="1777"/>
                  </a:cubicBezTo>
                  <a:cubicBezTo>
                    <a:pt x="1858" y="1800"/>
                    <a:pt x="1879" y="1825"/>
                    <a:pt x="1839" y="1844"/>
                  </a:cubicBezTo>
                  <a:cubicBezTo>
                    <a:pt x="1828" y="1900"/>
                    <a:pt x="1827" y="1956"/>
                    <a:pt x="1763" y="1992"/>
                  </a:cubicBezTo>
                  <a:cubicBezTo>
                    <a:pt x="1726" y="2060"/>
                    <a:pt x="1497" y="2024"/>
                    <a:pt x="1446" y="2092"/>
                  </a:cubicBezTo>
                  <a:cubicBezTo>
                    <a:pt x="1459" y="2104"/>
                    <a:pt x="1576" y="2100"/>
                    <a:pt x="1591" y="2096"/>
                  </a:cubicBezTo>
                  <a:cubicBezTo>
                    <a:pt x="1613" y="2085"/>
                    <a:pt x="1631" y="2104"/>
                    <a:pt x="1654" y="2103"/>
                  </a:cubicBezTo>
                  <a:cubicBezTo>
                    <a:pt x="1705" y="2103"/>
                    <a:pt x="1767" y="2086"/>
                    <a:pt x="1809" y="2103"/>
                  </a:cubicBezTo>
                  <a:cubicBezTo>
                    <a:pt x="1869" y="2103"/>
                    <a:pt x="1920" y="2105"/>
                    <a:pt x="1974" y="2105"/>
                  </a:cubicBezTo>
                  <a:lnTo>
                    <a:pt x="1974" y="2106"/>
                  </a:ln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800"/>
            </a:p>
          </p:txBody>
        </p:sp>
        <p:sp>
          <p:nvSpPr>
            <p:cNvPr id="57" name="Freeform 15"/>
            <p:cNvSpPr>
              <a:spLocks noChangeAspect="1" noEditPoints="1"/>
            </p:cNvSpPr>
            <p:nvPr/>
          </p:nvSpPr>
          <p:spPr bwMode="gray">
            <a:xfrm>
              <a:off x="3235" y="2758"/>
              <a:ext cx="581" cy="570"/>
            </a:xfrm>
            <a:custGeom>
              <a:avLst/>
              <a:gdLst/>
              <a:ahLst/>
              <a:cxnLst>
                <a:cxn ang="0">
                  <a:pos x="321" y="621"/>
                </a:cxn>
                <a:cxn ang="0">
                  <a:pos x="321" y="621"/>
                </a:cxn>
                <a:cxn ang="0">
                  <a:pos x="639" y="307"/>
                </a:cxn>
                <a:cxn ang="0">
                  <a:pos x="321" y="0"/>
                </a:cxn>
                <a:cxn ang="0">
                  <a:pos x="0" y="307"/>
                </a:cxn>
                <a:cxn ang="0">
                  <a:pos x="321" y="621"/>
                </a:cxn>
                <a:cxn ang="0">
                  <a:pos x="321" y="621"/>
                </a:cxn>
                <a:cxn ang="0">
                  <a:pos x="162" y="307"/>
                </a:cxn>
                <a:cxn ang="0">
                  <a:pos x="162" y="307"/>
                </a:cxn>
                <a:cxn ang="0">
                  <a:pos x="321" y="125"/>
                </a:cxn>
                <a:cxn ang="0">
                  <a:pos x="477" y="307"/>
                </a:cxn>
                <a:cxn ang="0">
                  <a:pos x="321" y="495"/>
                </a:cxn>
                <a:cxn ang="0">
                  <a:pos x="162" y="307"/>
                </a:cxn>
              </a:cxnLst>
              <a:rect l="0" t="0" r="r" b="b"/>
              <a:pathLst>
                <a:path w="639" h="621">
                  <a:moveTo>
                    <a:pt x="321" y="621"/>
                  </a:moveTo>
                  <a:lnTo>
                    <a:pt x="321" y="621"/>
                  </a:lnTo>
                  <a:cubicBezTo>
                    <a:pt x="512" y="621"/>
                    <a:pt x="639" y="480"/>
                    <a:pt x="639" y="307"/>
                  </a:cubicBezTo>
                  <a:cubicBezTo>
                    <a:pt x="639" y="124"/>
                    <a:pt x="511" y="0"/>
                    <a:pt x="321" y="0"/>
                  </a:cubicBezTo>
                  <a:cubicBezTo>
                    <a:pt x="130" y="0"/>
                    <a:pt x="0" y="121"/>
                    <a:pt x="0" y="307"/>
                  </a:cubicBezTo>
                  <a:cubicBezTo>
                    <a:pt x="0" y="489"/>
                    <a:pt x="132" y="621"/>
                    <a:pt x="321" y="621"/>
                  </a:cubicBezTo>
                  <a:lnTo>
                    <a:pt x="321" y="621"/>
                  </a:lnTo>
                  <a:close/>
                  <a:moveTo>
                    <a:pt x="162" y="307"/>
                  </a:moveTo>
                  <a:lnTo>
                    <a:pt x="162" y="307"/>
                  </a:lnTo>
                  <a:cubicBezTo>
                    <a:pt x="162" y="198"/>
                    <a:pt x="214" y="125"/>
                    <a:pt x="321" y="125"/>
                  </a:cubicBezTo>
                  <a:cubicBezTo>
                    <a:pt x="425" y="125"/>
                    <a:pt x="477" y="192"/>
                    <a:pt x="477" y="307"/>
                  </a:cubicBezTo>
                  <a:cubicBezTo>
                    <a:pt x="477" y="413"/>
                    <a:pt x="426" y="495"/>
                    <a:pt x="321" y="495"/>
                  </a:cubicBezTo>
                  <a:cubicBezTo>
                    <a:pt x="220" y="495"/>
                    <a:pt x="162" y="415"/>
                    <a:pt x="162" y="307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800"/>
            </a:p>
          </p:txBody>
        </p:sp>
        <p:sp>
          <p:nvSpPr>
            <p:cNvPr id="58" name="Freeform 16"/>
            <p:cNvSpPr>
              <a:spLocks noChangeAspect="1"/>
            </p:cNvSpPr>
            <p:nvPr/>
          </p:nvSpPr>
          <p:spPr bwMode="gray">
            <a:xfrm>
              <a:off x="3892" y="2758"/>
              <a:ext cx="409" cy="570"/>
            </a:xfrm>
            <a:custGeom>
              <a:avLst/>
              <a:gdLst/>
              <a:ahLst/>
              <a:cxnLst>
                <a:cxn ang="0">
                  <a:pos x="377" y="128"/>
                </a:cxn>
                <a:cxn ang="0">
                  <a:pos x="377" y="128"/>
                </a:cxn>
                <a:cxn ang="0">
                  <a:pos x="270" y="114"/>
                </a:cxn>
                <a:cxn ang="0">
                  <a:pos x="163" y="160"/>
                </a:cxn>
                <a:cxn ang="0">
                  <a:pos x="290" y="260"/>
                </a:cxn>
                <a:cxn ang="0">
                  <a:pos x="441" y="443"/>
                </a:cxn>
                <a:cxn ang="0">
                  <a:pos x="187" y="621"/>
                </a:cxn>
                <a:cxn ang="0">
                  <a:pos x="11" y="594"/>
                </a:cxn>
                <a:cxn ang="0">
                  <a:pos x="11" y="469"/>
                </a:cxn>
                <a:cxn ang="0">
                  <a:pos x="193" y="506"/>
                </a:cxn>
                <a:cxn ang="0">
                  <a:pos x="279" y="448"/>
                </a:cxn>
                <a:cxn ang="0">
                  <a:pos x="153" y="349"/>
                </a:cxn>
                <a:cxn ang="0">
                  <a:pos x="0" y="160"/>
                </a:cxn>
                <a:cxn ang="0">
                  <a:pos x="243" y="0"/>
                </a:cxn>
                <a:cxn ang="0">
                  <a:pos x="377" y="10"/>
                </a:cxn>
                <a:cxn ang="0">
                  <a:pos x="377" y="128"/>
                </a:cxn>
              </a:cxnLst>
              <a:rect l="0" t="0" r="r" b="b"/>
              <a:pathLst>
                <a:path w="441" h="621">
                  <a:moveTo>
                    <a:pt x="377" y="128"/>
                  </a:moveTo>
                  <a:lnTo>
                    <a:pt x="377" y="128"/>
                  </a:lnTo>
                  <a:cubicBezTo>
                    <a:pt x="341" y="122"/>
                    <a:pt x="306" y="114"/>
                    <a:pt x="270" y="114"/>
                  </a:cubicBezTo>
                  <a:cubicBezTo>
                    <a:pt x="207" y="114"/>
                    <a:pt x="163" y="129"/>
                    <a:pt x="163" y="160"/>
                  </a:cubicBezTo>
                  <a:cubicBezTo>
                    <a:pt x="163" y="195"/>
                    <a:pt x="223" y="224"/>
                    <a:pt x="290" y="260"/>
                  </a:cubicBezTo>
                  <a:cubicBezTo>
                    <a:pt x="353" y="294"/>
                    <a:pt x="441" y="340"/>
                    <a:pt x="441" y="443"/>
                  </a:cubicBezTo>
                  <a:cubicBezTo>
                    <a:pt x="441" y="557"/>
                    <a:pt x="340" y="621"/>
                    <a:pt x="187" y="621"/>
                  </a:cubicBezTo>
                  <a:cubicBezTo>
                    <a:pt x="117" y="621"/>
                    <a:pt x="69" y="607"/>
                    <a:pt x="11" y="594"/>
                  </a:cubicBezTo>
                  <a:lnTo>
                    <a:pt x="11" y="469"/>
                  </a:lnTo>
                  <a:cubicBezTo>
                    <a:pt x="56" y="482"/>
                    <a:pt x="128" y="506"/>
                    <a:pt x="193" y="506"/>
                  </a:cubicBezTo>
                  <a:cubicBezTo>
                    <a:pt x="236" y="506"/>
                    <a:pt x="279" y="487"/>
                    <a:pt x="279" y="448"/>
                  </a:cubicBezTo>
                  <a:cubicBezTo>
                    <a:pt x="279" y="412"/>
                    <a:pt x="227" y="391"/>
                    <a:pt x="153" y="349"/>
                  </a:cubicBezTo>
                  <a:cubicBezTo>
                    <a:pt x="86" y="316"/>
                    <a:pt x="0" y="247"/>
                    <a:pt x="0" y="160"/>
                  </a:cubicBezTo>
                  <a:cubicBezTo>
                    <a:pt x="0" y="57"/>
                    <a:pt x="104" y="0"/>
                    <a:pt x="243" y="0"/>
                  </a:cubicBezTo>
                  <a:cubicBezTo>
                    <a:pt x="288" y="0"/>
                    <a:pt x="333" y="4"/>
                    <a:pt x="377" y="10"/>
                  </a:cubicBezTo>
                  <a:lnTo>
                    <a:pt x="377" y="128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800"/>
            </a:p>
          </p:txBody>
        </p:sp>
        <p:sp>
          <p:nvSpPr>
            <p:cNvPr id="59" name="Freeform 17"/>
            <p:cNvSpPr>
              <a:spLocks noChangeAspect="1"/>
            </p:cNvSpPr>
            <p:nvPr/>
          </p:nvSpPr>
          <p:spPr bwMode="gray">
            <a:xfrm>
              <a:off x="1772" y="2564"/>
              <a:ext cx="215" cy="743"/>
            </a:xfrm>
            <a:custGeom>
              <a:avLst/>
              <a:gdLst/>
              <a:ahLst/>
              <a:cxnLst>
                <a:cxn ang="0">
                  <a:pos x="18" y="817"/>
                </a:cxn>
                <a:cxn ang="0">
                  <a:pos x="18" y="817"/>
                </a:cxn>
                <a:cxn ang="0">
                  <a:pos x="24" y="606"/>
                </a:cxn>
                <a:cxn ang="0">
                  <a:pos x="24" y="287"/>
                </a:cxn>
                <a:cxn ang="0">
                  <a:pos x="0" y="0"/>
                </a:cxn>
                <a:cxn ang="0">
                  <a:pos x="211" y="0"/>
                </a:cxn>
                <a:cxn ang="0">
                  <a:pos x="205" y="232"/>
                </a:cxn>
                <a:cxn ang="0">
                  <a:pos x="205" y="530"/>
                </a:cxn>
                <a:cxn ang="0">
                  <a:pos x="229" y="817"/>
                </a:cxn>
                <a:cxn ang="0">
                  <a:pos x="18" y="817"/>
                </a:cxn>
              </a:cxnLst>
              <a:rect l="0" t="0" r="r" b="b"/>
              <a:pathLst>
                <a:path w="229" h="817">
                  <a:moveTo>
                    <a:pt x="18" y="817"/>
                  </a:moveTo>
                  <a:lnTo>
                    <a:pt x="18" y="817"/>
                  </a:lnTo>
                  <a:cubicBezTo>
                    <a:pt x="22" y="750"/>
                    <a:pt x="24" y="699"/>
                    <a:pt x="24" y="606"/>
                  </a:cubicBezTo>
                  <a:lnTo>
                    <a:pt x="24" y="287"/>
                  </a:lnTo>
                  <a:cubicBezTo>
                    <a:pt x="24" y="172"/>
                    <a:pt x="17" y="85"/>
                    <a:pt x="0" y="0"/>
                  </a:cubicBezTo>
                  <a:lnTo>
                    <a:pt x="211" y="0"/>
                  </a:lnTo>
                  <a:cubicBezTo>
                    <a:pt x="211" y="59"/>
                    <a:pt x="205" y="140"/>
                    <a:pt x="205" y="232"/>
                  </a:cubicBezTo>
                  <a:lnTo>
                    <a:pt x="205" y="530"/>
                  </a:lnTo>
                  <a:cubicBezTo>
                    <a:pt x="205" y="614"/>
                    <a:pt x="218" y="739"/>
                    <a:pt x="229" y="817"/>
                  </a:cubicBezTo>
                  <a:lnTo>
                    <a:pt x="18" y="817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800"/>
            </a:p>
          </p:txBody>
        </p:sp>
        <p:sp>
          <p:nvSpPr>
            <p:cNvPr id="60" name="Freeform 18"/>
            <p:cNvSpPr>
              <a:spLocks noChangeAspect="1" noEditPoints="1"/>
            </p:cNvSpPr>
            <p:nvPr/>
          </p:nvSpPr>
          <p:spPr bwMode="gray">
            <a:xfrm>
              <a:off x="2095" y="2758"/>
              <a:ext cx="602" cy="785"/>
            </a:xfrm>
            <a:custGeom>
              <a:avLst/>
              <a:gdLst/>
              <a:ahLst/>
              <a:cxnLst>
                <a:cxn ang="0">
                  <a:pos x="210" y="851"/>
                </a:cxn>
                <a:cxn ang="0">
                  <a:pos x="210" y="851"/>
                </a:cxn>
                <a:cxn ang="0">
                  <a:pos x="198" y="632"/>
                </a:cxn>
                <a:cxn ang="0">
                  <a:pos x="198" y="564"/>
                </a:cxn>
                <a:cxn ang="0">
                  <a:pos x="385" y="621"/>
                </a:cxn>
                <a:cxn ang="0">
                  <a:pos x="662" y="322"/>
                </a:cxn>
                <a:cxn ang="0">
                  <a:pos x="378" y="0"/>
                </a:cxn>
                <a:cxn ang="0">
                  <a:pos x="174" y="98"/>
                </a:cxn>
                <a:cxn ang="0">
                  <a:pos x="153" y="15"/>
                </a:cxn>
                <a:cxn ang="0">
                  <a:pos x="0" y="26"/>
                </a:cxn>
                <a:cxn ang="0">
                  <a:pos x="36" y="323"/>
                </a:cxn>
                <a:cxn ang="0">
                  <a:pos x="36" y="564"/>
                </a:cxn>
                <a:cxn ang="0">
                  <a:pos x="12" y="863"/>
                </a:cxn>
                <a:cxn ang="0">
                  <a:pos x="210" y="851"/>
                </a:cxn>
                <a:cxn ang="0">
                  <a:pos x="210" y="851"/>
                </a:cxn>
                <a:cxn ang="0">
                  <a:pos x="186" y="323"/>
                </a:cxn>
                <a:cxn ang="0">
                  <a:pos x="186" y="323"/>
                </a:cxn>
                <a:cxn ang="0">
                  <a:pos x="338" y="125"/>
                </a:cxn>
                <a:cxn ang="0">
                  <a:pos x="500" y="323"/>
                </a:cxn>
                <a:cxn ang="0">
                  <a:pos x="345" y="495"/>
                </a:cxn>
                <a:cxn ang="0">
                  <a:pos x="186" y="323"/>
                </a:cxn>
              </a:cxnLst>
              <a:rect l="0" t="0" r="r" b="b"/>
              <a:pathLst>
                <a:path w="662" h="863">
                  <a:moveTo>
                    <a:pt x="210" y="851"/>
                  </a:moveTo>
                  <a:lnTo>
                    <a:pt x="210" y="851"/>
                  </a:lnTo>
                  <a:cubicBezTo>
                    <a:pt x="198" y="763"/>
                    <a:pt x="198" y="664"/>
                    <a:pt x="198" y="632"/>
                  </a:cubicBezTo>
                  <a:lnTo>
                    <a:pt x="198" y="564"/>
                  </a:lnTo>
                  <a:cubicBezTo>
                    <a:pt x="242" y="589"/>
                    <a:pt x="288" y="621"/>
                    <a:pt x="385" y="621"/>
                  </a:cubicBezTo>
                  <a:cubicBezTo>
                    <a:pt x="550" y="621"/>
                    <a:pt x="662" y="495"/>
                    <a:pt x="662" y="322"/>
                  </a:cubicBezTo>
                  <a:cubicBezTo>
                    <a:pt x="662" y="134"/>
                    <a:pt x="546" y="0"/>
                    <a:pt x="378" y="0"/>
                  </a:cubicBezTo>
                  <a:cubicBezTo>
                    <a:pt x="261" y="0"/>
                    <a:pt x="213" y="56"/>
                    <a:pt x="174" y="98"/>
                  </a:cubicBezTo>
                  <a:cubicBezTo>
                    <a:pt x="166" y="67"/>
                    <a:pt x="162" y="41"/>
                    <a:pt x="153" y="15"/>
                  </a:cubicBezTo>
                  <a:lnTo>
                    <a:pt x="0" y="26"/>
                  </a:lnTo>
                  <a:cubicBezTo>
                    <a:pt x="19" y="127"/>
                    <a:pt x="36" y="220"/>
                    <a:pt x="36" y="323"/>
                  </a:cubicBezTo>
                  <a:lnTo>
                    <a:pt x="36" y="564"/>
                  </a:lnTo>
                  <a:cubicBezTo>
                    <a:pt x="36" y="648"/>
                    <a:pt x="18" y="808"/>
                    <a:pt x="12" y="863"/>
                  </a:cubicBezTo>
                  <a:lnTo>
                    <a:pt x="210" y="851"/>
                  </a:lnTo>
                  <a:lnTo>
                    <a:pt x="210" y="851"/>
                  </a:lnTo>
                  <a:close/>
                  <a:moveTo>
                    <a:pt x="186" y="323"/>
                  </a:moveTo>
                  <a:lnTo>
                    <a:pt x="186" y="323"/>
                  </a:lnTo>
                  <a:cubicBezTo>
                    <a:pt x="186" y="206"/>
                    <a:pt x="236" y="125"/>
                    <a:pt x="338" y="125"/>
                  </a:cubicBezTo>
                  <a:cubicBezTo>
                    <a:pt x="433" y="125"/>
                    <a:pt x="500" y="207"/>
                    <a:pt x="500" y="323"/>
                  </a:cubicBezTo>
                  <a:cubicBezTo>
                    <a:pt x="500" y="426"/>
                    <a:pt x="448" y="495"/>
                    <a:pt x="345" y="495"/>
                  </a:cubicBezTo>
                  <a:cubicBezTo>
                    <a:pt x="244" y="495"/>
                    <a:pt x="186" y="437"/>
                    <a:pt x="186" y="323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800"/>
            </a:p>
          </p:txBody>
        </p:sp>
        <p:sp>
          <p:nvSpPr>
            <p:cNvPr id="61" name="Freeform 19"/>
            <p:cNvSpPr>
              <a:spLocks noChangeAspect="1"/>
            </p:cNvSpPr>
            <p:nvPr/>
          </p:nvSpPr>
          <p:spPr bwMode="gray">
            <a:xfrm>
              <a:off x="2773" y="2758"/>
              <a:ext cx="398" cy="570"/>
            </a:xfrm>
            <a:custGeom>
              <a:avLst/>
              <a:gdLst/>
              <a:ahLst/>
              <a:cxnLst>
                <a:cxn ang="0">
                  <a:pos x="364" y="126"/>
                </a:cxn>
                <a:cxn ang="0">
                  <a:pos x="364" y="126"/>
                </a:cxn>
                <a:cxn ang="0">
                  <a:pos x="270" y="114"/>
                </a:cxn>
                <a:cxn ang="0">
                  <a:pos x="162" y="160"/>
                </a:cxn>
                <a:cxn ang="0">
                  <a:pos x="289" y="260"/>
                </a:cxn>
                <a:cxn ang="0">
                  <a:pos x="440" y="443"/>
                </a:cxn>
                <a:cxn ang="0">
                  <a:pos x="186" y="621"/>
                </a:cxn>
                <a:cxn ang="0">
                  <a:pos x="11" y="594"/>
                </a:cxn>
                <a:cxn ang="0">
                  <a:pos x="11" y="469"/>
                </a:cxn>
                <a:cxn ang="0">
                  <a:pos x="192" y="506"/>
                </a:cxn>
                <a:cxn ang="0">
                  <a:pos x="278" y="448"/>
                </a:cxn>
                <a:cxn ang="0">
                  <a:pos x="152" y="349"/>
                </a:cxn>
                <a:cxn ang="0">
                  <a:pos x="0" y="160"/>
                </a:cxn>
                <a:cxn ang="0">
                  <a:pos x="242" y="0"/>
                </a:cxn>
                <a:cxn ang="0">
                  <a:pos x="387" y="12"/>
                </a:cxn>
                <a:cxn ang="0">
                  <a:pos x="364" y="126"/>
                </a:cxn>
              </a:cxnLst>
              <a:rect l="0" t="0" r="r" b="b"/>
              <a:pathLst>
                <a:path w="440" h="621">
                  <a:moveTo>
                    <a:pt x="364" y="126"/>
                  </a:moveTo>
                  <a:lnTo>
                    <a:pt x="364" y="126"/>
                  </a:lnTo>
                  <a:cubicBezTo>
                    <a:pt x="328" y="120"/>
                    <a:pt x="306" y="114"/>
                    <a:pt x="270" y="114"/>
                  </a:cubicBezTo>
                  <a:cubicBezTo>
                    <a:pt x="206" y="114"/>
                    <a:pt x="162" y="129"/>
                    <a:pt x="162" y="160"/>
                  </a:cubicBezTo>
                  <a:cubicBezTo>
                    <a:pt x="162" y="195"/>
                    <a:pt x="222" y="224"/>
                    <a:pt x="289" y="260"/>
                  </a:cubicBezTo>
                  <a:cubicBezTo>
                    <a:pt x="353" y="294"/>
                    <a:pt x="440" y="340"/>
                    <a:pt x="440" y="443"/>
                  </a:cubicBezTo>
                  <a:cubicBezTo>
                    <a:pt x="440" y="557"/>
                    <a:pt x="339" y="621"/>
                    <a:pt x="186" y="621"/>
                  </a:cubicBezTo>
                  <a:cubicBezTo>
                    <a:pt x="116" y="621"/>
                    <a:pt x="68" y="607"/>
                    <a:pt x="11" y="594"/>
                  </a:cubicBezTo>
                  <a:lnTo>
                    <a:pt x="11" y="469"/>
                  </a:lnTo>
                  <a:cubicBezTo>
                    <a:pt x="55" y="482"/>
                    <a:pt x="127" y="506"/>
                    <a:pt x="192" y="506"/>
                  </a:cubicBezTo>
                  <a:cubicBezTo>
                    <a:pt x="235" y="506"/>
                    <a:pt x="278" y="487"/>
                    <a:pt x="278" y="448"/>
                  </a:cubicBezTo>
                  <a:cubicBezTo>
                    <a:pt x="278" y="412"/>
                    <a:pt x="227" y="391"/>
                    <a:pt x="152" y="349"/>
                  </a:cubicBezTo>
                  <a:cubicBezTo>
                    <a:pt x="85" y="316"/>
                    <a:pt x="0" y="247"/>
                    <a:pt x="0" y="160"/>
                  </a:cubicBezTo>
                  <a:cubicBezTo>
                    <a:pt x="0" y="57"/>
                    <a:pt x="103" y="0"/>
                    <a:pt x="242" y="0"/>
                  </a:cubicBezTo>
                  <a:cubicBezTo>
                    <a:pt x="288" y="0"/>
                    <a:pt x="342" y="6"/>
                    <a:pt x="387" y="12"/>
                  </a:cubicBezTo>
                  <a:lnTo>
                    <a:pt x="364" y="126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800"/>
            </a:p>
          </p:txBody>
        </p:sp>
      </p:grpSp>
      <p:sp>
        <p:nvSpPr>
          <p:cNvPr id="63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86770" y="6566400"/>
            <a:ext cx="4799375" cy="184666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64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808014" y="6566400"/>
            <a:ext cx="182742" cy="184666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lvl1pPr algn="r">
              <a:defRPr sz="1200" b="1">
                <a:solidFill>
                  <a:schemeClr val="bg1"/>
                </a:solidFill>
                <a:latin typeface="+mn-lt"/>
              </a:defRPr>
            </a:lvl1pPr>
          </a:lstStyle>
          <a:p>
            <a:fld id="{99DB18A3-D21F-4BB0-9E84-DFB029941648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" name="Freeform 2"/>
          <p:cNvSpPr>
            <a:spLocks/>
          </p:cNvSpPr>
          <p:nvPr userDrawn="1"/>
        </p:nvSpPr>
        <p:spPr bwMode="grayWhite">
          <a:xfrm>
            <a:off x="8774560" y="0"/>
            <a:ext cx="3415855" cy="1905000"/>
          </a:xfrm>
          <a:custGeom>
            <a:avLst/>
            <a:gdLst>
              <a:gd name="T0" fmla="*/ 4304 w 4304"/>
              <a:gd name="T1" fmla="*/ 0 h 3200"/>
              <a:gd name="T2" fmla="*/ 13 w 4304"/>
              <a:gd name="T3" fmla="*/ 0 h 3200"/>
              <a:gd name="T4" fmla="*/ 0 w 4304"/>
              <a:gd name="T5" fmla="*/ 252 h 3200"/>
              <a:gd name="T6" fmla="*/ 2945 w 4304"/>
              <a:gd name="T7" fmla="*/ 3200 h 3200"/>
              <a:gd name="T8" fmla="*/ 4304 w 4304"/>
              <a:gd name="T9" fmla="*/ 2867 h 3200"/>
              <a:gd name="T10" fmla="*/ 4304 w 4304"/>
              <a:gd name="T11" fmla="*/ 0 h 3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304" h="3200">
                <a:moveTo>
                  <a:pt x="4304" y="0"/>
                </a:moveTo>
                <a:cubicBezTo>
                  <a:pt x="13" y="0"/>
                  <a:pt x="13" y="0"/>
                  <a:pt x="13" y="0"/>
                </a:cubicBezTo>
                <a:cubicBezTo>
                  <a:pt x="7" y="82"/>
                  <a:pt x="0" y="164"/>
                  <a:pt x="0" y="252"/>
                </a:cubicBezTo>
                <a:cubicBezTo>
                  <a:pt x="0" y="1878"/>
                  <a:pt x="1322" y="3200"/>
                  <a:pt x="2945" y="3200"/>
                </a:cubicBezTo>
                <a:cubicBezTo>
                  <a:pt x="3436" y="3200"/>
                  <a:pt x="3895" y="3081"/>
                  <a:pt x="4304" y="2867"/>
                </a:cubicBezTo>
                <a:lnTo>
                  <a:pt x="430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8" name="Oval 3"/>
          <p:cNvSpPr>
            <a:spLocks noChangeArrowheads="1"/>
          </p:cNvSpPr>
          <p:nvPr userDrawn="1"/>
        </p:nvSpPr>
        <p:spPr bwMode="grayWhite">
          <a:xfrm>
            <a:off x="973540" y="1889128"/>
            <a:ext cx="2029620" cy="1522413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28" tIns="45714" rIns="91428" bIns="45714" numCol="1" anchor="ctr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9" name="Line 4"/>
          <p:cNvSpPr>
            <a:spLocks noChangeShapeType="1"/>
          </p:cNvSpPr>
          <p:nvPr userDrawn="1"/>
        </p:nvSpPr>
        <p:spPr bwMode="grayWhite">
          <a:xfrm flipH="1" flipV="1">
            <a:off x="5056060" y="0"/>
            <a:ext cx="3796806" cy="468313"/>
          </a:xfrm>
          <a:prstGeom prst="line">
            <a:avLst/>
          </a:prstGeom>
          <a:noFill/>
          <a:ln w="12700">
            <a:solidFill>
              <a:srgbClr val="FFFFFF">
                <a:alpha val="50000"/>
              </a:srgb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10" name="Line 5"/>
          <p:cNvSpPr>
            <a:spLocks noChangeShapeType="1"/>
          </p:cNvSpPr>
          <p:nvPr userDrawn="1"/>
        </p:nvSpPr>
        <p:spPr bwMode="grayWhite">
          <a:xfrm flipH="1" flipV="1">
            <a:off x="2548137" y="3"/>
            <a:ext cx="6304730" cy="601663"/>
          </a:xfrm>
          <a:prstGeom prst="line">
            <a:avLst/>
          </a:prstGeom>
          <a:noFill/>
          <a:ln w="12700">
            <a:solidFill>
              <a:srgbClr val="FFFFFF">
                <a:alpha val="50000"/>
              </a:srgb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grayWhite">
          <a:xfrm>
            <a:off x="2946018" y="1136653"/>
            <a:ext cx="6262402" cy="1312863"/>
          </a:xfrm>
          <a:custGeom>
            <a:avLst/>
            <a:gdLst>
              <a:gd name="T0" fmla="*/ 0 w 2959"/>
              <a:gd name="T1" fmla="*/ 827 h 827"/>
              <a:gd name="T2" fmla="*/ 1432 w 2959"/>
              <a:gd name="T3" fmla="*/ 279 h 827"/>
              <a:gd name="T4" fmla="*/ 2959 w 2959"/>
              <a:gd name="T5" fmla="*/ 0 h 8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959" h="827">
                <a:moveTo>
                  <a:pt x="0" y="827"/>
                </a:moveTo>
                <a:cubicBezTo>
                  <a:pt x="239" y="736"/>
                  <a:pt x="939" y="417"/>
                  <a:pt x="1432" y="279"/>
                </a:cubicBezTo>
                <a:cubicBezTo>
                  <a:pt x="1925" y="141"/>
                  <a:pt x="2641" y="58"/>
                  <a:pt x="2959" y="0"/>
                </a:cubicBezTo>
              </a:path>
            </a:pathLst>
          </a:custGeom>
          <a:noFill/>
          <a:ln w="12700" cmpd="sng">
            <a:solidFill>
              <a:srgbClr val="FFFFFF">
                <a:alpha val="50000"/>
              </a:srgb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42" name="Inhaltsplatzhalter 2"/>
          <p:cNvSpPr>
            <a:spLocks noGrp="1"/>
          </p:cNvSpPr>
          <p:nvPr>
            <p:ph idx="1" hasCustomPrompt="1"/>
          </p:nvPr>
        </p:nvSpPr>
        <p:spPr>
          <a:xfrm>
            <a:off x="4333636" y="2538000"/>
            <a:ext cx="7679000" cy="3776400"/>
          </a:xfrm>
          <a:prstGeom prst="rect">
            <a:avLst/>
          </a:prstGeom>
        </p:spPr>
        <p:txBody>
          <a:bodyPr lIns="0" tIns="0" rIns="0" bIns="0"/>
          <a:lstStyle>
            <a:lvl1pPr marL="182545" indent="-182545">
              <a:lnSpc>
                <a:spcPct val="100000"/>
              </a:lnSpc>
              <a:spcBef>
                <a:spcPts val="800"/>
              </a:spcBef>
              <a:buFont typeface="Arial" pitchFamily="34" charset="0"/>
              <a:buChar char="•"/>
              <a:defRPr sz="1800">
                <a:solidFill>
                  <a:schemeClr val="bg1"/>
                </a:solidFill>
                <a:latin typeface="+mn-lt"/>
              </a:defRPr>
            </a:lvl1pPr>
            <a:lvl2pPr marL="358739" indent="-176195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Font typeface="Calibri" pitchFamily="34" charset="0"/>
              <a:buChar char="─"/>
              <a:defRPr sz="1600">
                <a:solidFill>
                  <a:schemeClr val="bg1"/>
                </a:solidFill>
                <a:latin typeface="+mn-lt"/>
              </a:defRPr>
            </a:lvl2pPr>
            <a:lvl3pPr marL="538109" indent="-179370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Font typeface="Wingdings" pitchFamily="2" charset="2"/>
              <a:buChar char="§"/>
              <a:defRPr sz="1400">
                <a:solidFill>
                  <a:schemeClr val="bg1"/>
                </a:solidFill>
                <a:latin typeface="+mn-lt"/>
              </a:defRPr>
            </a:lvl3pPr>
            <a:lvl4pPr marL="717478" indent="-179370">
              <a:lnSpc>
                <a:spcPct val="100000"/>
              </a:lnSpc>
              <a:spcBef>
                <a:spcPts val="800"/>
              </a:spcBef>
              <a:defRPr sz="1200">
                <a:solidFill>
                  <a:schemeClr val="bg1"/>
                </a:solidFill>
                <a:latin typeface="+mn-lt"/>
              </a:defRPr>
            </a:lvl4pPr>
            <a:lvl5pPr marL="896848" indent="-179370">
              <a:lnSpc>
                <a:spcPct val="100000"/>
              </a:lnSpc>
              <a:spcBef>
                <a:spcPts val="800"/>
              </a:spcBef>
              <a:buFont typeface="Calibri" pitchFamily="34" charset="0"/>
              <a:buChar char="─"/>
              <a:defRPr sz="10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sz="1200" noProof="0" dirty="0"/>
              <a:t>Fourth level</a:t>
            </a:r>
          </a:p>
          <a:p>
            <a:pPr lvl="4"/>
            <a:r>
              <a:rPr lang="en-US" sz="1000" noProof="0" dirty="0"/>
              <a:t>Fifth level</a:t>
            </a:r>
            <a:endParaRPr lang="en-US" noProof="0" dirty="0"/>
          </a:p>
          <a:p>
            <a:pPr lvl="3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47581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1960" y="857960"/>
            <a:ext cx="11527794" cy="61539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11960" y="331100"/>
            <a:ext cx="8956390" cy="590215"/>
          </a:xfrm>
        </p:spPr>
        <p:txBody>
          <a:bodyPr anchor="b"/>
          <a:lstStyle>
            <a:lvl1pPr marL="0" indent="0">
              <a:buNone/>
              <a:defRPr sz="25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99427" y="5620956"/>
            <a:ext cx="8956267" cy="424383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72"/>
              </a:spcBef>
              <a:defRPr sz="1300" cap="none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27617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 bwMode="auto">
          <a:xfrm>
            <a:off x="182872" y="880145"/>
            <a:ext cx="11824701" cy="0"/>
          </a:xfrm>
          <a:prstGeom prst="line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824831" y="6529565"/>
            <a:ext cx="182742" cy="184667"/>
          </a:xfrm>
        </p:spPr>
        <p:txBody>
          <a:bodyPr/>
          <a:lstStyle>
            <a:lvl1pPr>
              <a:defRPr/>
            </a:lvl1pPr>
          </a:lstStyle>
          <a:p>
            <a:fld id="{57F57E2C-CA48-4F4C-AFC2-15F244A93C75}" type="slidenum">
              <a:rPr lang="en-US">
                <a:solidFill>
                  <a:srgbClr val="1F497D"/>
                </a:solidFill>
              </a:rPr>
              <a:pPr/>
              <a:t>‹#›</a:t>
            </a:fld>
            <a:endParaRPr lang="en-US" dirty="0">
              <a:solidFill>
                <a:srgbClr val="1F49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63268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page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" name="Group 4"/>
          <p:cNvGrpSpPr>
            <a:grpSpLocks noChangeAspect="1"/>
          </p:cNvGrpSpPr>
          <p:nvPr userDrawn="1"/>
        </p:nvGrpSpPr>
        <p:grpSpPr bwMode="gray">
          <a:xfrm>
            <a:off x="149061" y="80628"/>
            <a:ext cx="797573" cy="743523"/>
            <a:chOff x="1352" y="681"/>
            <a:chExt cx="3519" cy="3153"/>
          </a:xfrm>
        </p:grpSpPr>
        <p:sp>
          <p:nvSpPr>
            <p:cNvPr id="55" name="Freeform 5"/>
            <p:cNvSpPr>
              <a:spLocks noChangeAspect="1"/>
            </p:cNvSpPr>
            <p:nvPr/>
          </p:nvSpPr>
          <p:spPr bwMode="gray">
            <a:xfrm>
              <a:off x="1352" y="681"/>
              <a:ext cx="3519" cy="3153"/>
            </a:xfrm>
            <a:custGeom>
              <a:avLst/>
              <a:gdLst/>
              <a:ahLst/>
              <a:cxnLst>
                <a:cxn ang="0">
                  <a:pos x="0" y="3449"/>
                </a:cxn>
                <a:cxn ang="0">
                  <a:pos x="0" y="3449"/>
                </a:cxn>
                <a:cxn ang="0">
                  <a:pos x="0" y="0"/>
                </a:cxn>
                <a:cxn ang="0">
                  <a:pos x="3696" y="0"/>
                </a:cxn>
                <a:cxn ang="0">
                  <a:pos x="3327" y="3449"/>
                </a:cxn>
                <a:cxn ang="0">
                  <a:pos x="0" y="3449"/>
                </a:cxn>
              </a:cxnLst>
              <a:rect l="0" t="0" r="r" b="b"/>
              <a:pathLst>
                <a:path w="3862" h="3449">
                  <a:moveTo>
                    <a:pt x="0" y="3449"/>
                  </a:moveTo>
                  <a:lnTo>
                    <a:pt x="0" y="3449"/>
                  </a:lnTo>
                  <a:lnTo>
                    <a:pt x="0" y="0"/>
                  </a:lnTo>
                  <a:lnTo>
                    <a:pt x="3696" y="0"/>
                  </a:lnTo>
                  <a:cubicBezTo>
                    <a:pt x="3862" y="1150"/>
                    <a:pt x="3797" y="2241"/>
                    <a:pt x="3327" y="3449"/>
                  </a:cubicBezTo>
                  <a:lnTo>
                    <a:pt x="0" y="3449"/>
                  </a:lnTo>
                  <a:close/>
                </a:path>
              </a:pathLst>
            </a:custGeom>
            <a:solidFill>
              <a:srgbClr val="009D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6" name="Freeform 6"/>
            <p:cNvSpPr>
              <a:spLocks noChangeAspect="1"/>
            </p:cNvSpPr>
            <p:nvPr/>
          </p:nvSpPr>
          <p:spPr bwMode="gray">
            <a:xfrm>
              <a:off x="2708" y="1843"/>
              <a:ext cx="75" cy="54"/>
            </a:xfrm>
            <a:custGeom>
              <a:avLst/>
              <a:gdLst/>
              <a:ahLst/>
              <a:cxnLst>
                <a:cxn ang="0">
                  <a:pos x="16" y="40"/>
                </a:cxn>
                <a:cxn ang="0">
                  <a:pos x="16" y="40"/>
                </a:cxn>
                <a:cxn ang="0">
                  <a:pos x="0" y="54"/>
                </a:cxn>
                <a:cxn ang="0">
                  <a:pos x="79" y="22"/>
                </a:cxn>
                <a:cxn ang="0">
                  <a:pos x="81" y="0"/>
                </a:cxn>
                <a:cxn ang="0">
                  <a:pos x="16" y="40"/>
                </a:cxn>
              </a:cxnLst>
              <a:rect l="0" t="0" r="r" b="b"/>
              <a:pathLst>
                <a:path w="81" h="66">
                  <a:moveTo>
                    <a:pt x="16" y="40"/>
                  </a:moveTo>
                  <a:lnTo>
                    <a:pt x="16" y="40"/>
                  </a:lnTo>
                  <a:lnTo>
                    <a:pt x="0" y="54"/>
                  </a:lnTo>
                  <a:cubicBezTo>
                    <a:pt x="35" y="66"/>
                    <a:pt x="72" y="42"/>
                    <a:pt x="79" y="22"/>
                  </a:cubicBezTo>
                  <a:lnTo>
                    <a:pt x="81" y="0"/>
                  </a:lnTo>
                  <a:cubicBezTo>
                    <a:pt x="54" y="6"/>
                    <a:pt x="27" y="19"/>
                    <a:pt x="16" y="40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7" name="Freeform 7"/>
            <p:cNvSpPr>
              <a:spLocks noChangeAspect="1"/>
            </p:cNvSpPr>
            <p:nvPr/>
          </p:nvSpPr>
          <p:spPr bwMode="gray">
            <a:xfrm>
              <a:off x="2869" y="1972"/>
              <a:ext cx="65" cy="54"/>
            </a:xfrm>
            <a:custGeom>
              <a:avLst/>
              <a:gdLst/>
              <a:ahLst/>
              <a:cxnLst>
                <a:cxn ang="0">
                  <a:pos x="27" y="1"/>
                </a:cxn>
                <a:cxn ang="0">
                  <a:pos x="27" y="1"/>
                </a:cxn>
                <a:cxn ang="0">
                  <a:pos x="0" y="0"/>
                </a:cxn>
                <a:cxn ang="0">
                  <a:pos x="33" y="58"/>
                </a:cxn>
                <a:cxn ang="0">
                  <a:pos x="53" y="63"/>
                </a:cxn>
                <a:cxn ang="0">
                  <a:pos x="27" y="1"/>
                </a:cxn>
              </a:cxnLst>
              <a:rect l="0" t="0" r="r" b="b"/>
              <a:pathLst>
                <a:path w="81" h="63">
                  <a:moveTo>
                    <a:pt x="27" y="1"/>
                  </a:moveTo>
                  <a:lnTo>
                    <a:pt x="27" y="1"/>
                  </a:lnTo>
                  <a:lnTo>
                    <a:pt x="0" y="0"/>
                  </a:lnTo>
                  <a:cubicBezTo>
                    <a:pt x="0" y="24"/>
                    <a:pt x="8" y="43"/>
                    <a:pt x="33" y="58"/>
                  </a:cubicBezTo>
                  <a:lnTo>
                    <a:pt x="53" y="63"/>
                  </a:lnTo>
                  <a:cubicBezTo>
                    <a:pt x="81" y="39"/>
                    <a:pt x="44" y="15"/>
                    <a:pt x="27" y="1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" name="Freeform 8"/>
            <p:cNvSpPr>
              <a:spLocks noChangeAspect="1"/>
            </p:cNvSpPr>
            <p:nvPr/>
          </p:nvSpPr>
          <p:spPr bwMode="gray">
            <a:xfrm>
              <a:off x="2622" y="1413"/>
              <a:ext cx="86" cy="75"/>
            </a:xfrm>
            <a:custGeom>
              <a:avLst/>
              <a:gdLst/>
              <a:ahLst/>
              <a:cxnLst>
                <a:cxn ang="0">
                  <a:pos x="20" y="50"/>
                </a:cxn>
                <a:cxn ang="0">
                  <a:pos x="20" y="50"/>
                </a:cxn>
                <a:cxn ang="0">
                  <a:pos x="0" y="64"/>
                </a:cxn>
                <a:cxn ang="0">
                  <a:pos x="89" y="27"/>
                </a:cxn>
                <a:cxn ang="0">
                  <a:pos x="96" y="0"/>
                </a:cxn>
                <a:cxn ang="0">
                  <a:pos x="20" y="50"/>
                </a:cxn>
              </a:cxnLst>
              <a:rect l="0" t="0" r="r" b="b"/>
              <a:pathLst>
                <a:path w="96" h="79">
                  <a:moveTo>
                    <a:pt x="20" y="50"/>
                  </a:moveTo>
                  <a:lnTo>
                    <a:pt x="20" y="50"/>
                  </a:lnTo>
                  <a:lnTo>
                    <a:pt x="0" y="64"/>
                  </a:lnTo>
                  <a:cubicBezTo>
                    <a:pt x="41" y="79"/>
                    <a:pt x="75" y="57"/>
                    <a:pt x="89" y="27"/>
                  </a:cubicBezTo>
                  <a:lnTo>
                    <a:pt x="96" y="0"/>
                  </a:lnTo>
                  <a:cubicBezTo>
                    <a:pt x="63" y="8"/>
                    <a:pt x="38" y="8"/>
                    <a:pt x="20" y="50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" name="Freeform 9"/>
            <p:cNvSpPr>
              <a:spLocks noChangeAspect="1"/>
            </p:cNvSpPr>
            <p:nvPr/>
          </p:nvSpPr>
          <p:spPr bwMode="gray">
            <a:xfrm>
              <a:off x="2568" y="1563"/>
              <a:ext cx="75" cy="76"/>
            </a:xfrm>
            <a:custGeom>
              <a:avLst/>
              <a:gdLst/>
              <a:ahLst/>
              <a:cxnLst>
                <a:cxn ang="0">
                  <a:pos x="77" y="22"/>
                </a:cxn>
                <a:cxn ang="0">
                  <a:pos x="77" y="22"/>
                </a:cxn>
                <a:cxn ang="0">
                  <a:pos x="71" y="0"/>
                </a:cxn>
                <a:cxn ang="0">
                  <a:pos x="0" y="44"/>
                </a:cxn>
                <a:cxn ang="0">
                  <a:pos x="0" y="62"/>
                </a:cxn>
                <a:cxn ang="0">
                  <a:pos x="77" y="22"/>
                </a:cxn>
              </a:cxnLst>
              <a:rect l="0" t="0" r="r" b="b"/>
              <a:pathLst>
                <a:path w="77" h="77">
                  <a:moveTo>
                    <a:pt x="77" y="22"/>
                  </a:moveTo>
                  <a:lnTo>
                    <a:pt x="77" y="22"/>
                  </a:lnTo>
                  <a:lnTo>
                    <a:pt x="71" y="0"/>
                  </a:lnTo>
                  <a:cubicBezTo>
                    <a:pt x="38" y="7"/>
                    <a:pt x="14" y="19"/>
                    <a:pt x="0" y="44"/>
                  </a:cubicBezTo>
                  <a:lnTo>
                    <a:pt x="0" y="62"/>
                  </a:lnTo>
                  <a:cubicBezTo>
                    <a:pt x="42" y="77"/>
                    <a:pt x="64" y="40"/>
                    <a:pt x="77" y="22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" name="Freeform 10"/>
            <p:cNvSpPr>
              <a:spLocks noChangeAspect="1"/>
            </p:cNvSpPr>
            <p:nvPr/>
          </p:nvSpPr>
          <p:spPr bwMode="gray">
            <a:xfrm>
              <a:off x="2547" y="1725"/>
              <a:ext cx="86" cy="64"/>
            </a:xfrm>
            <a:custGeom>
              <a:avLst/>
              <a:gdLst/>
              <a:ahLst/>
              <a:cxnLst>
                <a:cxn ang="0">
                  <a:pos x="0" y="52"/>
                </a:cxn>
                <a:cxn ang="0">
                  <a:pos x="0" y="52"/>
                </a:cxn>
                <a:cxn ang="0">
                  <a:pos x="14" y="60"/>
                </a:cxn>
                <a:cxn ang="0">
                  <a:pos x="73" y="23"/>
                </a:cxn>
                <a:cxn ang="0">
                  <a:pos x="90" y="8"/>
                </a:cxn>
                <a:cxn ang="0">
                  <a:pos x="0" y="52"/>
                </a:cxn>
              </a:cxnLst>
              <a:rect l="0" t="0" r="r" b="b"/>
              <a:pathLst>
                <a:path w="90" h="74">
                  <a:moveTo>
                    <a:pt x="0" y="52"/>
                  </a:moveTo>
                  <a:lnTo>
                    <a:pt x="0" y="52"/>
                  </a:lnTo>
                  <a:lnTo>
                    <a:pt x="14" y="60"/>
                  </a:lnTo>
                  <a:cubicBezTo>
                    <a:pt x="59" y="74"/>
                    <a:pt x="62" y="38"/>
                    <a:pt x="73" y="23"/>
                  </a:cubicBezTo>
                  <a:lnTo>
                    <a:pt x="90" y="8"/>
                  </a:lnTo>
                  <a:cubicBezTo>
                    <a:pt x="48" y="0"/>
                    <a:pt x="11" y="31"/>
                    <a:pt x="0" y="52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" name="Freeform 11"/>
            <p:cNvSpPr>
              <a:spLocks noChangeAspect="1"/>
            </p:cNvSpPr>
            <p:nvPr/>
          </p:nvSpPr>
          <p:spPr bwMode="gray">
            <a:xfrm>
              <a:off x="2773" y="1176"/>
              <a:ext cx="86" cy="75"/>
            </a:xfrm>
            <a:custGeom>
              <a:avLst/>
              <a:gdLst/>
              <a:ahLst/>
              <a:cxnLst>
                <a:cxn ang="0">
                  <a:pos x="16" y="4"/>
                </a:cxn>
                <a:cxn ang="0">
                  <a:pos x="16" y="4"/>
                </a:cxn>
                <a:cxn ang="0">
                  <a:pos x="0" y="12"/>
                </a:cxn>
                <a:cxn ang="0">
                  <a:pos x="86" y="49"/>
                </a:cxn>
                <a:cxn ang="0">
                  <a:pos x="88" y="22"/>
                </a:cxn>
                <a:cxn ang="0">
                  <a:pos x="16" y="4"/>
                </a:cxn>
              </a:cxnLst>
              <a:rect l="0" t="0" r="r" b="b"/>
              <a:pathLst>
                <a:path w="88" h="72">
                  <a:moveTo>
                    <a:pt x="16" y="4"/>
                  </a:moveTo>
                  <a:lnTo>
                    <a:pt x="16" y="4"/>
                  </a:lnTo>
                  <a:lnTo>
                    <a:pt x="0" y="12"/>
                  </a:lnTo>
                  <a:cubicBezTo>
                    <a:pt x="4" y="40"/>
                    <a:pt x="70" y="72"/>
                    <a:pt x="86" y="49"/>
                  </a:cubicBezTo>
                  <a:lnTo>
                    <a:pt x="88" y="22"/>
                  </a:lnTo>
                  <a:cubicBezTo>
                    <a:pt x="67" y="8"/>
                    <a:pt x="45" y="0"/>
                    <a:pt x="16" y="4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2" name="Freeform 12"/>
            <p:cNvSpPr>
              <a:spLocks noChangeAspect="1"/>
            </p:cNvSpPr>
            <p:nvPr/>
          </p:nvSpPr>
          <p:spPr bwMode="gray">
            <a:xfrm>
              <a:off x="2955" y="1111"/>
              <a:ext cx="76" cy="87"/>
            </a:xfrm>
            <a:custGeom>
              <a:avLst/>
              <a:gdLst/>
              <a:ahLst/>
              <a:cxnLst>
                <a:cxn ang="0">
                  <a:pos x="46" y="7"/>
                </a:cxn>
                <a:cxn ang="0">
                  <a:pos x="46" y="7"/>
                </a:cxn>
                <a:cxn ang="0">
                  <a:pos x="21" y="0"/>
                </a:cxn>
                <a:cxn ang="0">
                  <a:pos x="14" y="66"/>
                </a:cxn>
                <a:cxn ang="0">
                  <a:pos x="27" y="92"/>
                </a:cxn>
                <a:cxn ang="0">
                  <a:pos x="46" y="7"/>
                </a:cxn>
              </a:cxnLst>
              <a:rect l="0" t="0" r="r" b="b"/>
              <a:pathLst>
                <a:path w="86" h="92">
                  <a:moveTo>
                    <a:pt x="46" y="7"/>
                  </a:moveTo>
                  <a:lnTo>
                    <a:pt x="46" y="7"/>
                  </a:lnTo>
                  <a:lnTo>
                    <a:pt x="21" y="0"/>
                  </a:lnTo>
                  <a:cubicBezTo>
                    <a:pt x="7" y="19"/>
                    <a:pt x="0" y="33"/>
                    <a:pt x="14" y="66"/>
                  </a:cubicBezTo>
                  <a:lnTo>
                    <a:pt x="27" y="92"/>
                  </a:lnTo>
                  <a:cubicBezTo>
                    <a:pt x="57" y="63"/>
                    <a:pt x="86" y="36"/>
                    <a:pt x="46" y="7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" name="Freeform 13"/>
            <p:cNvSpPr>
              <a:spLocks noChangeAspect="1" noEditPoints="1"/>
            </p:cNvSpPr>
            <p:nvPr/>
          </p:nvSpPr>
          <p:spPr bwMode="gray">
            <a:xfrm>
              <a:off x="3149" y="929"/>
              <a:ext cx="667" cy="1678"/>
            </a:xfrm>
            <a:custGeom>
              <a:avLst/>
              <a:gdLst/>
              <a:ahLst/>
              <a:cxnLst>
                <a:cxn ang="0">
                  <a:pos x="451" y="808"/>
                </a:cxn>
                <a:cxn ang="0">
                  <a:pos x="451" y="808"/>
                </a:cxn>
                <a:cxn ang="0">
                  <a:pos x="326" y="776"/>
                </a:cxn>
                <a:cxn ang="0">
                  <a:pos x="477" y="746"/>
                </a:cxn>
                <a:cxn ang="0">
                  <a:pos x="493" y="773"/>
                </a:cxn>
                <a:cxn ang="0">
                  <a:pos x="451" y="808"/>
                </a:cxn>
                <a:cxn ang="0">
                  <a:pos x="451" y="808"/>
                </a:cxn>
                <a:cxn ang="0">
                  <a:pos x="639" y="841"/>
                </a:cxn>
                <a:cxn ang="0">
                  <a:pos x="639" y="841"/>
                </a:cxn>
                <a:cxn ang="0">
                  <a:pos x="601" y="701"/>
                </a:cxn>
                <a:cxn ang="0">
                  <a:pos x="634" y="646"/>
                </a:cxn>
                <a:cxn ang="0">
                  <a:pos x="627" y="477"/>
                </a:cxn>
                <a:cxn ang="0">
                  <a:pos x="641" y="463"/>
                </a:cxn>
                <a:cxn ang="0">
                  <a:pos x="627" y="414"/>
                </a:cxn>
                <a:cxn ang="0">
                  <a:pos x="615" y="342"/>
                </a:cxn>
                <a:cxn ang="0">
                  <a:pos x="590" y="286"/>
                </a:cxn>
                <a:cxn ang="0">
                  <a:pos x="602" y="260"/>
                </a:cxn>
                <a:cxn ang="0">
                  <a:pos x="560" y="236"/>
                </a:cxn>
                <a:cxn ang="0">
                  <a:pos x="523" y="213"/>
                </a:cxn>
                <a:cxn ang="0">
                  <a:pos x="514" y="180"/>
                </a:cxn>
                <a:cxn ang="0">
                  <a:pos x="483" y="195"/>
                </a:cxn>
                <a:cxn ang="0">
                  <a:pos x="476" y="154"/>
                </a:cxn>
                <a:cxn ang="0">
                  <a:pos x="434" y="171"/>
                </a:cxn>
                <a:cxn ang="0">
                  <a:pos x="411" y="119"/>
                </a:cxn>
                <a:cxn ang="0">
                  <a:pos x="389" y="124"/>
                </a:cxn>
                <a:cxn ang="0">
                  <a:pos x="356" y="150"/>
                </a:cxn>
                <a:cxn ang="0">
                  <a:pos x="356" y="101"/>
                </a:cxn>
                <a:cxn ang="0">
                  <a:pos x="341" y="93"/>
                </a:cxn>
                <a:cxn ang="0">
                  <a:pos x="314" y="81"/>
                </a:cxn>
                <a:cxn ang="0">
                  <a:pos x="276" y="97"/>
                </a:cxn>
                <a:cxn ang="0">
                  <a:pos x="292" y="51"/>
                </a:cxn>
                <a:cxn ang="0">
                  <a:pos x="244" y="106"/>
                </a:cxn>
                <a:cxn ang="0">
                  <a:pos x="216" y="112"/>
                </a:cxn>
                <a:cxn ang="0">
                  <a:pos x="266" y="43"/>
                </a:cxn>
                <a:cxn ang="0">
                  <a:pos x="214" y="91"/>
                </a:cxn>
                <a:cxn ang="0">
                  <a:pos x="173" y="98"/>
                </a:cxn>
                <a:cxn ang="0">
                  <a:pos x="186" y="38"/>
                </a:cxn>
                <a:cxn ang="0">
                  <a:pos x="173" y="69"/>
                </a:cxn>
                <a:cxn ang="0">
                  <a:pos x="166" y="36"/>
                </a:cxn>
                <a:cxn ang="0">
                  <a:pos x="142" y="114"/>
                </a:cxn>
                <a:cxn ang="0">
                  <a:pos x="126" y="39"/>
                </a:cxn>
                <a:cxn ang="0">
                  <a:pos x="80" y="112"/>
                </a:cxn>
                <a:cxn ang="0">
                  <a:pos x="56" y="117"/>
                </a:cxn>
                <a:cxn ang="0">
                  <a:pos x="37" y="43"/>
                </a:cxn>
                <a:cxn ang="0">
                  <a:pos x="5" y="1808"/>
                </a:cxn>
                <a:cxn ang="0">
                  <a:pos x="0" y="1840"/>
                </a:cxn>
                <a:cxn ang="0">
                  <a:pos x="162" y="1823"/>
                </a:cxn>
                <a:cxn ang="0">
                  <a:pos x="529" y="1842"/>
                </a:cxn>
                <a:cxn ang="0">
                  <a:pos x="614" y="1829"/>
                </a:cxn>
                <a:cxn ang="0">
                  <a:pos x="421" y="1778"/>
                </a:cxn>
                <a:cxn ang="0">
                  <a:pos x="272" y="1664"/>
                </a:cxn>
                <a:cxn ang="0">
                  <a:pos x="237" y="1566"/>
                </a:cxn>
                <a:cxn ang="0">
                  <a:pos x="239" y="1432"/>
                </a:cxn>
                <a:cxn ang="0">
                  <a:pos x="315" y="1404"/>
                </a:cxn>
                <a:cxn ang="0">
                  <a:pos x="586" y="1387"/>
                </a:cxn>
                <a:cxn ang="0">
                  <a:pos x="605" y="1286"/>
                </a:cxn>
                <a:cxn ang="0">
                  <a:pos x="609" y="1223"/>
                </a:cxn>
                <a:cxn ang="0">
                  <a:pos x="630" y="1174"/>
                </a:cxn>
                <a:cxn ang="0">
                  <a:pos x="590" y="1133"/>
                </a:cxn>
                <a:cxn ang="0">
                  <a:pos x="650" y="1082"/>
                </a:cxn>
                <a:cxn ang="0">
                  <a:pos x="621" y="1018"/>
                </a:cxn>
                <a:cxn ang="0">
                  <a:pos x="704" y="959"/>
                </a:cxn>
                <a:cxn ang="0">
                  <a:pos x="639" y="841"/>
                </a:cxn>
              </a:cxnLst>
              <a:rect l="0" t="0" r="r" b="b"/>
              <a:pathLst>
                <a:path w="724" h="1845">
                  <a:moveTo>
                    <a:pt x="451" y="808"/>
                  </a:moveTo>
                  <a:lnTo>
                    <a:pt x="451" y="808"/>
                  </a:lnTo>
                  <a:cubicBezTo>
                    <a:pt x="397" y="820"/>
                    <a:pt x="315" y="783"/>
                    <a:pt x="326" y="776"/>
                  </a:cubicBezTo>
                  <a:cubicBezTo>
                    <a:pt x="353" y="757"/>
                    <a:pt x="416" y="725"/>
                    <a:pt x="477" y="746"/>
                  </a:cubicBezTo>
                  <a:cubicBezTo>
                    <a:pt x="488" y="750"/>
                    <a:pt x="492" y="760"/>
                    <a:pt x="493" y="773"/>
                  </a:cubicBezTo>
                  <a:cubicBezTo>
                    <a:pt x="496" y="804"/>
                    <a:pt x="471" y="805"/>
                    <a:pt x="451" y="808"/>
                  </a:cubicBezTo>
                  <a:lnTo>
                    <a:pt x="451" y="808"/>
                  </a:lnTo>
                  <a:close/>
                  <a:moveTo>
                    <a:pt x="639" y="841"/>
                  </a:moveTo>
                  <a:lnTo>
                    <a:pt x="639" y="841"/>
                  </a:lnTo>
                  <a:cubicBezTo>
                    <a:pt x="610" y="803"/>
                    <a:pt x="557" y="751"/>
                    <a:pt x="601" y="701"/>
                  </a:cubicBezTo>
                  <a:cubicBezTo>
                    <a:pt x="624" y="684"/>
                    <a:pt x="631" y="670"/>
                    <a:pt x="634" y="646"/>
                  </a:cubicBezTo>
                  <a:cubicBezTo>
                    <a:pt x="644" y="560"/>
                    <a:pt x="639" y="524"/>
                    <a:pt x="627" y="477"/>
                  </a:cubicBezTo>
                  <a:cubicBezTo>
                    <a:pt x="629" y="473"/>
                    <a:pt x="638" y="478"/>
                    <a:pt x="641" y="463"/>
                  </a:cubicBezTo>
                  <a:cubicBezTo>
                    <a:pt x="650" y="422"/>
                    <a:pt x="627" y="414"/>
                    <a:pt x="627" y="414"/>
                  </a:cubicBezTo>
                  <a:cubicBezTo>
                    <a:pt x="645" y="399"/>
                    <a:pt x="643" y="342"/>
                    <a:pt x="615" y="342"/>
                  </a:cubicBezTo>
                  <a:cubicBezTo>
                    <a:pt x="631" y="317"/>
                    <a:pt x="617" y="277"/>
                    <a:pt x="590" y="286"/>
                  </a:cubicBezTo>
                  <a:cubicBezTo>
                    <a:pt x="590" y="286"/>
                    <a:pt x="604" y="278"/>
                    <a:pt x="602" y="260"/>
                  </a:cubicBezTo>
                  <a:cubicBezTo>
                    <a:pt x="599" y="224"/>
                    <a:pt x="547" y="259"/>
                    <a:pt x="560" y="236"/>
                  </a:cubicBezTo>
                  <a:cubicBezTo>
                    <a:pt x="567" y="223"/>
                    <a:pt x="538" y="180"/>
                    <a:pt x="523" y="213"/>
                  </a:cubicBezTo>
                  <a:cubicBezTo>
                    <a:pt x="515" y="207"/>
                    <a:pt x="529" y="187"/>
                    <a:pt x="514" y="180"/>
                  </a:cubicBezTo>
                  <a:cubicBezTo>
                    <a:pt x="504" y="181"/>
                    <a:pt x="495" y="188"/>
                    <a:pt x="483" y="195"/>
                  </a:cubicBezTo>
                  <a:cubicBezTo>
                    <a:pt x="479" y="181"/>
                    <a:pt x="494" y="174"/>
                    <a:pt x="476" y="154"/>
                  </a:cubicBezTo>
                  <a:cubicBezTo>
                    <a:pt x="452" y="138"/>
                    <a:pt x="451" y="162"/>
                    <a:pt x="434" y="171"/>
                  </a:cubicBezTo>
                  <a:cubicBezTo>
                    <a:pt x="404" y="164"/>
                    <a:pt x="476" y="146"/>
                    <a:pt x="411" y="119"/>
                  </a:cubicBezTo>
                  <a:cubicBezTo>
                    <a:pt x="395" y="159"/>
                    <a:pt x="396" y="130"/>
                    <a:pt x="389" y="124"/>
                  </a:cubicBezTo>
                  <a:cubicBezTo>
                    <a:pt x="384" y="121"/>
                    <a:pt x="375" y="131"/>
                    <a:pt x="356" y="150"/>
                  </a:cubicBezTo>
                  <a:cubicBezTo>
                    <a:pt x="366" y="124"/>
                    <a:pt x="388" y="92"/>
                    <a:pt x="356" y="101"/>
                  </a:cubicBezTo>
                  <a:cubicBezTo>
                    <a:pt x="320" y="117"/>
                    <a:pt x="341" y="96"/>
                    <a:pt x="341" y="93"/>
                  </a:cubicBezTo>
                  <a:cubicBezTo>
                    <a:pt x="372" y="79"/>
                    <a:pt x="312" y="45"/>
                    <a:pt x="314" y="81"/>
                  </a:cubicBezTo>
                  <a:cubicBezTo>
                    <a:pt x="313" y="105"/>
                    <a:pt x="261" y="126"/>
                    <a:pt x="276" y="97"/>
                  </a:cubicBezTo>
                  <a:cubicBezTo>
                    <a:pt x="286" y="60"/>
                    <a:pt x="331" y="116"/>
                    <a:pt x="292" y="51"/>
                  </a:cubicBezTo>
                  <a:cubicBezTo>
                    <a:pt x="268" y="78"/>
                    <a:pt x="248" y="96"/>
                    <a:pt x="244" y="106"/>
                  </a:cubicBezTo>
                  <a:cubicBezTo>
                    <a:pt x="225" y="181"/>
                    <a:pt x="236" y="113"/>
                    <a:pt x="216" y="112"/>
                  </a:cubicBezTo>
                  <a:cubicBezTo>
                    <a:pt x="242" y="94"/>
                    <a:pt x="276" y="63"/>
                    <a:pt x="266" y="43"/>
                  </a:cubicBezTo>
                  <a:cubicBezTo>
                    <a:pt x="237" y="41"/>
                    <a:pt x="172" y="87"/>
                    <a:pt x="214" y="91"/>
                  </a:cubicBezTo>
                  <a:cubicBezTo>
                    <a:pt x="211" y="106"/>
                    <a:pt x="187" y="123"/>
                    <a:pt x="173" y="98"/>
                  </a:cubicBezTo>
                  <a:cubicBezTo>
                    <a:pt x="196" y="92"/>
                    <a:pt x="235" y="15"/>
                    <a:pt x="186" y="38"/>
                  </a:cubicBezTo>
                  <a:cubicBezTo>
                    <a:pt x="181" y="42"/>
                    <a:pt x="181" y="56"/>
                    <a:pt x="173" y="69"/>
                  </a:cubicBezTo>
                  <a:cubicBezTo>
                    <a:pt x="161" y="58"/>
                    <a:pt x="170" y="42"/>
                    <a:pt x="166" y="36"/>
                  </a:cubicBezTo>
                  <a:cubicBezTo>
                    <a:pt x="127" y="0"/>
                    <a:pt x="141" y="93"/>
                    <a:pt x="142" y="114"/>
                  </a:cubicBezTo>
                  <a:cubicBezTo>
                    <a:pt x="92" y="82"/>
                    <a:pt x="139" y="91"/>
                    <a:pt x="126" y="39"/>
                  </a:cubicBezTo>
                  <a:cubicBezTo>
                    <a:pt x="84" y="47"/>
                    <a:pt x="73" y="64"/>
                    <a:pt x="80" y="112"/>
                  </a:cubicBezTo>
                  <a:cubicBezTo>
                    <a:pt x="74" y="123"/>
                    <a:pt x="63" y="149"/>
                    <a:pt x="56" y="117"/>
                  </a:cubicBezTo>
                  <a:cubicBezTo>
                    <a:pt x="79" y="87"/>
                    <a:pt x="77" y="44"/>
                    <a:pt x="37" y="43"/>
                  </a:cubicBezTo>
                  <a:cubicBezTo>
                    <a:pt x="101" y="631"/>
                    <a:pt x="97" y="1225"/>
                    <a:pt x="5" y="1808"/>
                  </a:cubicBezTo>
                  <a:lnTo>
                    <a:pt x="0" y="1840"/>
                  </a:lnTo>
                  <a:cubicBezTo>
                    <a:pt x="46" y="1839"/>
                    <a:pt x="113" y="1825"/>
                    <a:pt x="162" y="1823"/>
                  </a:cubicBezTo>
                  <a:cubicBezTo>
                    <a:pt x="301" y="1827"/>
                    <a:pt x="298" y="1845"/>
                    <a:pt x="529" y="1842"/>
                  </a:cubicBezTo>
                  <a:cubicBezTo>
                    <a:pt x="582" y="1837"/>
                    <a:pt x="597" y="1829"/>
                    <a:pt x="614" y="1829"/>
                  </a:cubicBezTo>
                  <a:cubicBezTo>
                    <a:pt x="597" y="1758"/>
                    <a:pt x="481" y="1798"/>
                    <a:pt x="421" y="1778"/>
                  </a:cubicBezTo>
                  <a:cubicBezTo>
                    <a:pt x="321" y="1768"/>
                    <a:pt x="304" y="1708"/>
                    <a:pt x="272" y="1664"/>
                  </a:cubicBezTo>
                  <a:cubicBezTo>
                    <a:pt x="258" y="1639"/>
                    <a:pt x="237" y="1608"/>
                    <a:pt x="237" y="1566"/>
                  </a:cubicBezTo>
                  <a:cubicBezTo>
                    <a:pt x="230" y="1513"/>
                    <a:pt x="240" y="1484"/>
                    <a:pt x="239" y="1432"/>
                  </a:cubicBezTo>
                  <a:cubicBezTo>
                    <a:pt x="243" y="1393"/>
                    <a:pt x="287" y="1401"/>
                    <a:pt x="315" y="1404"/>
                  </a:cubicBezTo>
                  <a:cubicBezTo>
                    <a:pt x="402" y="1413"/>
                    <a:pt x="547" y="1399"/>
                    <a:pt x="586" y="1387"/>
                  </a:cubicBezTo>
                  <a:cubicBezTo>
                    <a:pt x="641" y="1371"/>
                    <a:pt x="642" y="1337"/>
                    <a:pt x="605" y="1286"/>
                  </a:cubicBezTo>
                  <a:cubicBezTo>
                    <a:pt x="597" y="1261"/>
                    <a:pt x="598" y="1245"/>
                    <a:pt x="609" y="1223"/>
                  </a:cubicBezTo>
                  <a:cubicBezTo>
                    <a:pt x="625" y="1206"/>
                    <a:pt x="644" y="1195"/>
                    <a:pt x="630" y="1174"/>
                  </a:cubicBezTo>
                  <a:cubicBezTo>
                    <a:pt x="630" y="1174"/>
                    <a:pt x="504" y="1147"/>
                    <a:pt x="590" y="1133"/>
                  </a:cubicBezTo>
                  <a:cubicBezTo>
                    <a:pt x="679" y="1118"/>
                    <a:pt x="650" y="1082"/>
                    <a:pt x="650" y="1082"/>
                  </a:cubicBezTo>
                  <a:cubicBezTo>
                    <a:pt x="650" y="1082"/>
                    <a:pt x="635" y="1045"/>
                    <a:pt x="621" y="1018"/>
                  </a:cubicBezTo>
                  <a:cubicBezTo>
                    <a:pt x="611" y="998"/>
                    <a:pt x="695" y="991"/>
                    <a:pt x="704" y="959"/>
                  </a:cubicBezTo>
                  <a:cubicBezTo>
                    <a:pt x="724" y="932"/>
                    <a:pt x="661" y="871"/>
                    <a:pt x="639" y="841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4" name="Freeform 14"/>
            <p:cNvSpPr>
              <a:spLocks noChangeAspect="1"/>
            </p:cNvSpPr>
            <p:nvPr/>
          </p:nvSpPr>
          <p:spPr bwMode="gray">
            <a:xfrm>
              <a:off x="1352" y="681"/>
              <a:ext cx="1829" cy="3153"/>
            </a:xfrm>
            <a:custGeom>
              <a:avLst/>
              <a:gdLst/>
              <a:ahLst/>
              <a:cxnLst>
                <a:cxn ang="0">
                  <a:pos x="1974" y="2106"/>
                </a:cxn>
                <a:cxn ang="0">
                  <a:pos x="0" y="3449"/>
                </a:cxn>
                <a:cxn ang="0">
                  <a:pos x="1972" y="0"/>
                </a:cxn>
                <a:cxn ang="0">
                  <a:pos x="1980" y="347"/>
                </a:cxn>
                <a:cxn ang="0">
                  <a:pos x="1982" y="392"/>
                </a:cxn>
                <a:cxn ang="0">
                  <a:pos x="1923" y="324"/>
                </a:cxn>
                <a:cxn ang="0">
                  <a:pos x="1878" y="384"/>
                </a:cxn>
                <a:cxn ang="0">
                  <a:pos x="1858" y="411"/>
                </a:cxn>
                <a:cxn ang="0">
                  <a:pos x="1823" y="348"/>
                </a:cxn>
                <a:cxn ang="0">
                  <a:pos x="1766" y="359"/>
                </a:cxn>
                <a:cxn ang="0">
                  <a:pos x="1702" y="494"/>
                </a:cxn>
                <a:cxn ang="0">
                  <a:pos x="1680" y="420"/>
                </a:cxn>
                <a:cxn ang="0">
                  <a:pos x="1605" y="427"/>
                </a:cxn>
                <a:cxn ang="0">
                  <a:pos x="1609" y="499"/>
                </a:cxn>
                <a:cxn ang="0">
                  <a:pos x="1520" y="498"/>
                </a:cxn>
                <a:cxn ang="0">
                  <a:pos x="1513" y="560"/>
                </a:cxn>
                <a:cxn ang="0">
                  <a:pos x="1407" y="521"/>
                </a:cxn>
                <a:cxn ang="0">
                  <a:pos x="1521" y="578"/>
                </a:cxn>
                <a:cxn ang="0">
                  <a:pos x="1453" y="612"/>
                </a:cxn>
                <a:cxn ang="0">
                  <a:pos x="1441" y="603"/>
                </a:cxn>
                <a:cxn ang="0">
                  <a:pos x="1404" y="640"/>
                </a:cxn>
                <a:cxn ang="0">
                  <a:pos x="1448" y="632"/>
                </a:cxn>
                <a:cxn ang="0">
                  <a:pos x="1433" y="703"/>
                </a:cxn>
                <a:cxn ang="0">
                  <a:pos x="1392" y="719"/>
                </a:cxn>
                <a:cxn ang="0">
                  <a:pos x="1410" y="785"/>
                </a:cxn>
                <a:cxn ang="0">
                  <a:pos x="1321" y="761"/>
                </a:cxn>
                <a:cxn ang="0">
                  <a:pos x="1255" y="760"/>
                </a:cxn>
                <a:cxn ang="0">
                  <a:pos x="1205" y="829"/>
                </a:cxn>
                <a:cxn ang="0">
                  <a:pos x="1350" y="845"/>
                </a:cxn>
                <a:cxn ang="0">
                  <a:pos x="1308" y="881"/>
                </a:cxn>
                <a:cxn ang="0">
                  <a:pos x="1308" y="953"/>
                </a:cxn>
                <a:cxn ang="0">
                  <a:pos x="1358" y="951"/>
                </a:cxn>
                <a:cxn ang="0">
                  <a:pos x="1319" y="1061"/>
                </a:cxn>
                <a:cxn ang="0">
                  <a:pos x="1324" y="1115"/>
                </a:cxn>
                <a:cxn ang="0">
                  <a:pos x="1283" y="1185"/>
                </a:cxn>
                <a:cxn ang="0">
                  <a:pos x="1257" y="1226"/>
                </a:cxn>
                <a:cxn ang="0">
                  <a:pos x="1285" y="1267"/>
                </a:cxn>
                <a:cxn ang="0">
                  <a:pos x="1314" y="1311"/>
                </a:cxn>
                <a:cxn ang="0">
                  <a:pos x="1363" y="1376"/>
                </a:cxn>
                <a:cxn ang="0">
                  <a:pos x="1438" y="1413"/>
                </a:cxn>
                <a:cxn ang="0">
                  <a:pos x="1494" y="1379"/>
                </a:cxn>
                <a:cxn ang="0">
                  <a:pos x="1513" y="1471"/>
                </a:cxn>
                <a:cxn ang="0">
                  <a:pos x="1605" y="1474"/>
                </a:cxn>
                <a:cxn ang="0">
                  <a:pos x="1584" y="1525"/>
                </a:cxn>
                <a:cxn ang="0">
                  <a:pos x="1618" y="1559"/>
                </a:cxn>
                <a:cxn ang="0">
                  <a:pos x="1644" y="1602"/>
                </a:cxn>
                <a:cxn ang="0">
                  <a:pos x="1700" y="1594"/>
                </a:cxn>
                <a:cxn ang="0">
                  <a:pos x="1729" y="1535"/>
                </a:cxn>
                <a:cxn ang="0">
                  <a:pos x="1794" y="1574"/>
                </a:cxn>
                <a:cxn ang="0">
                  <a:pos x="1808" y="1711"/>
                </a:cxn>
                <a:cxn ang="0">
                  <a:pos x="1870" y="1688"/>
                </a:cxn>
                <a:cxn ang="0">
                  <a:pos x="1839" y="1844"/>
                </a:cxn>
                <a:cxn ang="0">
                  <a:pos x="1446" y="2092"/>
                </a:cxn>
                <a:cxn ang="0">
                  <a:pos x="1654" y="2103"/>
                </a:cxn>
                <a:cxn ang="0">
                  <a:pos x="1974" y="2105"/>
                </a:cxn>
              </a:cxnLst>
              <a:rect l="0" t="0" r="r" b="b"/>
              <a:pathLst>
                <a:path w="2011" h="3449">
                  <a:moveTo>
                    <a:pt x="1974" y="2106"/>
                  </a:moveTo>
                  <a:lnTo>
                    <a:pt x="1974" y="2106"/>
                  </a:lnTo>
                  <a:cubicBezTo>
                    <a:pt x="1903" y="2543"/>
                    <a:pt x="1782" y="2987"/>
                    <a:pt x="1602" y="3449"/>
                  </a:cubicBezTo>
                  <a:lnTo>
                    <a:pt x="0" y="3449"/>
                  </a:lnTo>
                  <a:lnTo>
                    <a:pt x="0" y="0"/>
                  </a:lnTo>
                  <a:lnTo>
                    <a:pt x="1972" y="0"/>
                  </a:lnTo>
                  <a:cubicBezTo>
                    <a:pt x="1988" y="113"/>
                    <a:pt x="1999" y="197"/>
                    <a:pt x="2011" y="309"/>
                  </a:cubicBezTo>
                  <a:cubicBezTo>
                    <a:pt x="2011" y="309"/>
                    <a:pt x="1977" y="320"/>
                    <a:pt x="1980" y="347"/>
                  </a:cubicBezTo>
                  <a:cubicBezTo>
                    <a:pt x="1984" y="378"/>
                    <a:pt x="1997" y="385"/>
                    <a:pt x="1997" y="385"/>
                  </a:cubicBezTo>
                  <a:lnTo>
                    <a:pt x="1982" y="392"/>
                  </a:lnTo>
                  <a:cubicBezTo>
                    <a:pt x="1982" y="392"/>
                    <a:pt x="1966" y="368"/>
                    <a:pt x="1966" y="369"/>
                  </a:cubicBezTo>
                  <a:cubicBezTo>
                    <a:pt x="1966" y="346"/>
                    <a:pt x="1976" y="311"/>
                    <a:pt x="1923" y="324"/>
                  </a:cubicBezTo>
                  <a:cubicBezTo>
                    <a:pt x="1904" y="365"/>
                    <a:pt x="1952" y="373"/>
                    <a:pt x="1939" y="401"/>
                  </a:cubicBezTo>
                  <a:cubicBezTo>
                    <a:pt x="1883" y="404"/>
                    <a:pt x="1923" y="359"/>
                    <a:pt x="1878" y="384"/>
                  </a:cubicBezTo>
                  <a:cubicBezTo>
                    <a:pt x="1881" y="371"/>
                    <a:pt x="1871" y="336"/>
                    <a:pt x="1857" y="339"/>
                  </a:cubicBezTo>
                  <a:cubicBezTo>
                    <a:pt x="1851" y="358"/>
                    <a:pt x="1836" y="391"/>
                    <a:pt x="1858" y="411"/>
                  </a:cubicBezTo>
                  <a:cubicBezTo>
                    <a:pt x="1851" y="416"/>
                    <a:pt x="1830" y="413"/>
                    <a:pt x="1825" y="406"/>
                  </a:cubicBezTo>
                  <a:cubicBezTo>
                    <a:pt x="1819" y="396"/>
                    <a:pt x="1840" y="379"/>
                    <a:pt x="1823" y="348"/>
                  </a:cubicBezTo>
                  <a:cubicBezTo>
                    <a:pt x="1771" y="371"/>
                    <a:pt x="1819" y="421"/>
                    <a:pt x="1776" y="440"/>
                  </a:cubicBezTo>
                  <a:cubicBezTo>
                    <a:pt x="1729" y="434"/>
                    <a:pt x="1803" y="394"/>
                    <a:pt x="1766" y="359"/>
                  </a:cubicBezTo>
                  <a:cubicBezTo>
                    <a:pt x="1723" y="369"/>
                    <a:pt x="1707" y="413"/>
                    <a:pt x="1724" y="439"/>
                  </a:cubicBezTo>
                  <a:cubicBezTo>
                    <a:pt x="1723" y="462"/>
                    <a:pt x="1705" y="474"/>
                    <a:pt x="1702" y="494"/>
                  </a:cubicBezTo>
                  <a:cubicBezTo>
                    <a:pt x="1681" y="491"/>
                    <a:pt x="1672" y="483"/>
                    <a:pt x="1670" y="475"/>
                  </a:cubicBezTo>
                  <a:cubicBezTo>
                    <a:pt x="1667" y="460"/>
                    <a:pt x="1708" y="453"/>
                    <a:pt x="1680" y="420"/>
                  </a:cubicBezTo>
                  <a:cubicBezTo>
                    <a:pt x="1635" y="427"/>
                    <a:pt x="1665" y="500"/>
                    <a:pt x="1629" y="461"/>
                  </a:cubicBezTo>
                  <a:cubicBezTo>
                    <a:pt x="1626" y="444"/>
                    <a:pt x="1614" y="429"/>
                    <a:pt x="1605" y="427"/>
                  </a:cubicBezTo>
                  <a:cubicBezTo>
                    <a:pt x="1588" y="439"/>
                    <a:pt x="1580" y="459"/>
                    <a:pt x="1591" y="476"/>
                  </a:cubicBezTo>
                  <a:lnTo>
                    <a:pt x="1609" y="499"/>
                  </a:lnTo>
                  <a:cubicBezTo>
                    <a:pt x="1607" y="499"/>
                    <a:pt x="1617" y="513"/>
                    <a:pt x="1615" y="512"/>
                  </a:cubicBezTo>
                  <a:cubicBezTo>
                    <a:pt x="1585" y="488"/>
                    <a:pt x="1545" y="471"/>
                    <a:pt x="1520" y="498"/>
                  </a:cubicBezTo>
                  <a:cubicBezTo>
                    <a:pt x="1523" y="523"/>
                    <a:pt x="1545" y="525"/>
                    <a:pt x="1579" y="533"/>
                  </a:cubicBezTo>
                  <a:cubicBezTo>
                    <a:pt x="1536" y="537"/>
                    <a:pt x="1527" y="552"/>
                    <a:pt x="1513" y="560"/>
                  </a:cubicBezTo>
                  <a:cubicBezTo>
                    <a:pt x="1508" y="532"/>
                    <a:pt x="1475" y="527"/>
                    <a:pt x="1444" y="523"/>
                  </a:cubicBezTo>
                  <a:cubicBezTo>
                    <a:pt x="1426" y="527"/>
                    <a:pt x="1415" y="515"/>
                    <a:pt x="1407" y="521"/>
                  </a:cubicBezTo>
                  <a:cubicBezTo>
                    <a:pt x="1420" y="553"/>
                    <a:pt x="1451" y="578"/>
                    <a:pt x="1490" y="586"/>
                  </a:cubicBezTo>
                  <a:cubicBezTo>
                    <a:pt x="1507" y="584"/>
                    <a:pt x="1509" y="584"/>
                    <a:pt x="1521" y="578"/>
                  </a:cubicBezTo>
                  <a:cubicBezTo>
                    <a:pt x="1544" y="588"/>
                    <a:pt x="1542" y="592"/>
                    <a:pt x="1548" y="608"/>
                  </a:cubicBezTo>
                  <a:cubicBezTo>
                    <a:pt x="1514" y="623"/>
                    <a:pt x="1487" y="604"/>
                    <a:pt x="1453" y="612"/>
                  </a:cubicBezTo>
                  <a:cubicBezTo>
                    <a:pt x="1453" y="614"/>
                    <a:pt x="1445" y="614"/>
                    <a:pt x="1444" y="611"/>
                  </a:cubicBezTo>
                  <a:cubicBezTo>
                    <a:pt x="1445" y="611"/>
                    <a:pt x="1440" y="603"/>
                    <a:pt x="1441" y="603"/>
                  </a:cubicBezTo>
                  <a:cubicBezTo>
                    <a:pt x="1426" y="575"/>
                    <a:pt x="1387" y="586"/>
                    <a:pt x="1366" y="592"/>
                  </a:cubicBezTo>
                  <a:cubicBezTo>
                    <a:pt x="1363" y="614"/>
                    <a:pt x="1386" y="632"/>
                    <a:pt x="1404" y="640"/>
                  </a:cubicBezTo>
                  <a:cubicBezTo>
                    <a:pt x="1429" y="649"/>
                    <a:pt x="1438" y="641"/>
                    <a:pt x="1438" y="641"/>
                  </a:cubicBezTo>
                  <a:lnTo>
                    <a:pt x="1448" y="632"/>
                  </a:lnTo>
                  <a:cubicBezTo>
                    <a:pt x="1459" y="672"/>
                    <a:pt x="1473" y="674"/>
                    <a:pt x="1494" y="690"/>
                  </a:cubicBezTo>
                  <a:cubicBezTo>
                    <a:pt x="1471" y="698"/>
                    <a:pt x="1462" y="705"/>
                    <a:pt x="1433" y="703"/>
                  </a:cubicBezTo>
                  <a:cubicBezTo>
                    <a:pt x="1400" y="652"/>
                    <a:pt x="1301" y="630"/>
                    <a:pt x="1305" y="654"/>
                  </a:cubicBezTo>
                  <a:cubicBezTo>
                    <a:pt x="1319" y="706"/>
                    <a:pt x="1392" y="719"/>
                    <a:pt x="1392" y="719"/>
                  </a:cubicBezTo>
                  <a:cubicBezTo>
                    <a:pt x="1392" y="719"/>
                    <a:pt x="1354" y="733"/>
                    <a:pt x="1360" y="746"/>
                  </a:cubicBezTo>
                  <a:cubicBezTo>
                    <a:pt x="1367" y="758"/>
                    <a:pt x="1417" y="766"/>
                    <a:pt x="1410" y="785"/>
                  </a:cubicBezTo>
                  <a:cubicBezTo>
                    <a:pt x="1358" y="762"/>
                    <a:pt x="1348" y="771"/>
                    <a:pt x="1383" y="817"/>
                  </a:cubicBezTo>
                  <a:cubicBezTo>
                    <a:pt x="1339" y="819"/>
                    <a:pt x="1349" y="772"/>
                    <a:pt x="1321" y="761"/>
                  </a:cubicBezTo>
                  <a:cubicBezTo>
                    <a:pt x="1301" y="775"/>
                    <a:pt x="1313" y="806"/>
                    <a:pt x="1313" y="806"/>
                  </a:cubicBezTo>
                  <a:cubicBezTo>
                    <a:pt x="1303" y="798"/>
                    <a:pt x="1277" y="754"/>
                    <a:pt x="1255" y="760"/>
                  </a:cubicBezTo>
                  <a:cubicBezTo>
                    <a:pt x="1248" y="765"/>
                    <a:pt x="1248" y="789"/>
                    <a:pt x="1265" y="805"/>
                  </a:cubicBezTo>
                  <a:cubicBezTo>
                    <a:pt x="1244" y="809"/>
                    <a:pt x="1210" y="806"/>
                    <a:pt x="1205" y="829"/>
                  </a:cubicBezTo>
                  <a:cubicBezTo>
                    <a:pt x="1239" y="855"/>
                    <a:pt x="1276" y="855"/>
                    <a:pt x="1329" y="849"/>
                  </a:cubicBezTo>
                  <a:cubicBezTo>
                    <a:pt x="1329" y="849"/>
                    <a:pt x="1339" y="848"/>
                    <a:pt x="1350" y="845"/>
                  </a:cubicBezTo>
                  <a:cubicBezTo>
                    <a:pt x="1360" y="842"/>
                    <a:pt x="1375" y="856"/>
                    <a:pt x="1375" y="856"/>
                  </a:cubicBezTo>
                  <a:cubicBezTo>
                    <a:pt x="1349" y="862"/>
                    <a:pt x="1360" y="870"/>
                    <a:pt x="1308" y="881"/>
                  </a:cubicBezTo>
                  <a:cubicBezTo>
                    <a:pt x="1274" y="897"/>
                    <a:pt x="1247" y="918"/>
                    <a:pt x="1247" y="953"/>
                  </a:cubicBezTo>
                  <a:cubicBezTo>
                    <a:pt x="1268" y="963"/>
                    <a:pt x="1294" y="973"/>
                    <a:pt x="1308" y="953"/>
                  </a:cubicBezTo>
                  <a:cubicBezTo>
                    <a:pt x="1331" y="920"/>
                    <a:pt x="1324" y="946"/>
                    <a:pt x="1340" y="945"/>
                  </a:cubicBezTo>
                  <a:lnTo>
                    <a:pt x="1358" y="951"/>
                  </a:lnTo>
                  <a:cubicBezTo>
                    <a:pt x="1344" y="986"/>
                    <a:pt x="1264" y="985"/>
                    <a:pt x="1279" y="1011"/>
                  </a:cubicBezTo>
                  <a:cubicBezTo>
                    <a:pt x="1295" y="1035"/>
                    <a:pt x="1319" y="1061"/>
                    <a:pt x="1319" y="1061"/>
                  </a:cubicBezTo>
                  <a:cubicBezTo>
                    <a:pt x="1319" y="1061"/>
                    <a:pt x="1263" y="1032"/>
                    <a:pt x="1247" y="1053"/>
                  </a:cubicBezTo>
                  <a:cubicBezTo>
                    <a:pt x="1232" y="1071"/>
                    <a:pt x="1265" y="1102"/>
                    <a:pt x="1324" y="1115"/>
                  </a:cubicBezTo>
                  <a:cubicBezTo>
                    <a:pt x="1304" y="1128"/>
                    <a:pt x="1233" y="1115"/>
                    <a:pt x="1276" y="1160"/>
                  </a:cubicBezTo>
                  <a:cubicBezTo>
                    <a:pt x="1225" y="1181"/>
                    <a:pt x="1242" y="1196"/>
                    <a:pt x="1283" y="1185"/>
                  </a:cubicBezTo>
                  <a:lnTo>
                    <a:pt x="1303" y="1188"/>
                  </a:lnTo>
                  <a:cubicBezTo>
                    <a:pt x="1291" y="1196"/>
                    <a:pt x="1254" y="1213"/>
                    <a:pt x="1257" y="1226"/>
                  </a:cubicBezTo>
                  <a:cubicBezTo>
                    <a:pt x="1259" y="1243"/>
                    <a:pt x="1300" y="1222"/>
                    <a:pt x="1307" y="1235"/>
                  </a:cubicBezTo>
                  <a:cubicBezTo>
                    <a:pt x="1310" y="1254"/>
                    <a:pt x="1287" y="1262"/>
                    <a:pt x="1285" y="1267"/>
                  </a:cubicBezTo>
                  <a:cubicBezTo>
                    <a:pt x="1314" y="1286"/>
                    <a:pt x="1331" y="1241"/>
                    <a:pt x="1358" y="1267"/>
                  </a:cubicBezTo>
                  <a:cubicBezTo>
                    <a:pt x="1348" y="1286"/>
                    <a:pt x="1305" y="1282"/>
                    <a:pt x="1314" y="1311"/>
                  </a:cubicBezTo>
                  <a:cubicBezTo>
                    <a:pt x="1330" y="1323"/>
                    <a:pt x="1357" y="1318"/>
                    <a:pt x="1373" y="1329"/>
                  </a:cubicBezTo>
                  <a:cubicBezTo>
                    <a:pt x="1373" y="1329"/>
                    <a:pt x="1351" y="1371"/>
                    <a:pt x="1363" y="1376"/>
                  </a:cubicBezTo>
                  <a:cubicBezTo>
                    <a:pt x="1386" y="1388"/>
                    <a:pt x="1408" y="1351"/>
                    <a:pt x="1416" y="1349"/>
                  </a:cubicBezTo>
                  <a:cubicBezTo>
                    <a:pt x="1410" y="1396"/>
                    <a:pt x="1450" y="1380"/>
                    <a:pt x="1438" y="1413"/>
                  </a:cubicBezTo>
                  <a:cubicBezTo>
                    <a:pt x="1438" y="1430"/>
                    <a:pt x="1436" y="1454"/>
                    <a:pt x="1454" y="1463"/>
                  </a:cubicBezTo>
                  <a:cubicBezTo>
                    <a:pt x="1491" y="1452"/>
                    <a:pt x="1495" y="1423"/>
                    <a:pt x="1494" y="1379"/>
                  </a:cubicBezTo>
                  <a:cubicBezTo>
                    <a:pt x="1494" y="1364"/>
                    <a:pt x="1537" y="1389"/>
                    <a:pt x="1537" y="1389"/>
                  </a:cubicBezTo>
                  <a:cubicBezTo>
                    <a:pt x="1563" y="1410"/>
                    <a:pt x="1492" y="1426"/>
                    <a:pt x="1513" y="1471"/>
                  </a:cubicBezTo>
                  <a:cubicBezTo>
                    <a:pt x="1573" y="1479"/>
                    <a:pt x="1573" y="1428"/>
                    <a:pt x="1621" y="1419"/>
                  </a:cubicBezTo>
                  <a:cubicBezTo>
                    <a:pt x="1643" y="1433"/>
                    <a:pt x="1612" y="1457"/>
                    <a:pt x="1605" y="1474"/>
                  </a:cubicBezTo>
                  <a:cubicBezTo>
                    <a:pt x="1575" y="1491"/>
                    <a:pt x="1538" y="1471"/>
                    <a:pt x="1509" y="1530"/>
                  </a:cubicBezTo>
                  <a:cubicBezTo>
                    <a:pt x="1551" y="1546"/>
                    <a:pt x="1570" y="1533"/>
                    <a:pt x="1584" y="1525"/>
                  </a:cubicBezTo>
                  <a:cubicBezTo>
                    <a:pt x="1597" y="1516"/>
                    <a:pt x="1596" y="1511"/>
                    <a:pt x="1606" y="1507"/>
                  </a:cubicBezTo>
                  <a:cubicBezTo>
                    <a:pt x="1607" y="1523"/>
                    <a:pt x="1603" y="1553"/>
                    <a:pt x="1618" y="1559"/>
                  </a:cubicBezTo>
                  <a:cubicBezTo>
                    <a:pt x="1632" y="1558"/>
                    <a:pt x="1633" y="1553"/>
                    <a:pt x="1645" y="1546"/>
                  </a:cubicBezTo>
                  <a:cubicBezTo>
                    <a:pt x="1657" y="1558"/>
                    <a:pt x="1626" y="1589"/>
                    <a:pt x="1644" y="1602"/>
                  </a:cubicBezTo>
                  <a:cubicBezTo>
                    <a:pt x="1661" y="1599"/>
                    <a:pt x="1667" y="1583"/>
                    <a:pt x="1667" y="1583"/>
                  </a:cubicBezTo>
                  <a:cubicBezTo>
                    <a:pt x="1677" y="1597"/>
                    <a:pt x="1689" y="1597"/>
                    <a:pt x="1700" y="1594"/>
                  </a:cubicBezTo>
                  <a:cubicBezTo>
                    <a:pt x="1706" y="1579"/>
                    <a:pt x="1707" y="1545"/>
                    <a:pt x="1688" y="1533"/>
                  </a:cubicBezTo>
                  <a:cubicBezTo>
                    <a:pt x="1697" y="1522"/>
                    <a:pt x="1720" y="1543"/>
                    <a:pt x="1729" y="1535"/>
                  </a:cubicBezTo>
                  <a:cubicBezTo>
                    <a:pt x="1748" y="1557"/>
                    <a:pt x="1707" y="1600"/>
                    <a:pt x="1737" y="1618"/>
                  </a:cubicBezTo>
                  <a:cubicBezTo>
                    <a:pt x="1766" y="1615"/>
                    <a:pt x="1765" y="1586"/>
                    <a:pt x="1794" y="1574"/>
                  </a:cubicBezTo>
                  <a:cubicBezTo>
                    <a:pt x="1789" y="1604"/>
                    <a:pt x="1824" y="1626"/>
                    <a:pt x="1779" y="1648"/>
                  </a:cubicBezTo>
                  <a:cubicBezTo>
                    <a:pt x="1779" y="1677"/>
                    <a:pt x="1834" y="1669"/>
                    <a:pt x="1808" y="1711"/>
                  </a:cubicBezTo>
                  <a:cubicBezTo>
                    <a:pt x="1818" y="1728"/>
                    <a:pt x="1831" y="1721"/>
                    <a:pt x="1843" y="1718"/>
                  </a:cubicBezTo>
                  <a:lnTo>
                    <a:pt x="1870" y="1688"/>
                  </a:lnTo>
                  <a:cubicBezTo>
                    <a:pt x="1862" y="1712"/>
                    <a:pt x="1860" y="1750"/>
                    <a:pt x="1867" y="1777"/>
                  </a:cubicBezTo>
                  <a:cubicBezTo>
                    <a:pt x="1858" y="1800"/>
                    <a:pt x="1879" y="1825"/>
                    <a:pt x="1839" y="1844"/>
                  </a:cubicBezTo>
                  <a:cubicBezTo>
                    <a:pt x="1828" y="1900"/>
                    <a:pt x="1827" y="1956"/>
                    <a:pt x="1763" y="1992"/>
                  </a:cubicBezTo>
                  <a:cubicBezTo>
                    <a:pt x="1726" y="2060"/>
                    <a:pt x="1497" y="2024"/>
                    <a:pt x="1446" y="2092"/>
                  </a:cubicBezTo>
                  <a:cubicBezTo>
                    <a:pt x="1459" y="2104"/>
                    <a:pt x="1576" y="2100"/>
                    <a:pt x="1591" y="2096"/>
                  </a:cubicBezTo>
                  <a:cubicBezTo>
                    <a:pt x="1613" y="2085"/>
                    <a:pt x="1631" y="2104"/>
                    <a:pt x="1654" y="2103"/>
                  </a:cubicBezTo>
                  <a:cubicBezTo>
                    <a:pt x="1705" y="2103"/>
                    <a:pt x="1767" y="2086"/>
                    <a:pt x="1809" y="2103"/>
                  </a:cubicBezTo>
                  <a:cubicBezTo>
                    <a:pt x="1869" y="2103"/>
                    <a:pt x="1920" y="2105"/>
                    <a:pt x="1974" y="2105"/>
                  </a:cubicBezTo>
                  <a:lnTo>
                    <a:pt x="1974" y="2106"/>
                  </a:ln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" name="Freeform 15"/>
            <p:cNvSpPr>
              <a:spLocks noChangeAspect="1" noEditPoints="1"/>
            </p:cNvSpPr>
            <p:nvPr/>
          </p:nvSpPr>
          <p:spPr bwMode="gray">
            <a:xfrm>
              <a:off x="3235" y="2758"/>
              <a:ext cx="581" cy="570"/>
            </a:xfrm>
            <a:custGeom>
              <a:avLst/>
              <a:gdLst/>
              <a:ahLst/>
              <a:cxnLst>
                <a:cxn ang="0">
                  <a:pos x="321" y="621"/>
                </a:cxn>
                <a:cxn ang="0">
                  <a:pos x="321" y="621"/>
                </a:cxn>
                <a:cxn ang="0">
                  <a:pos x="639" y="307"/>
                </a:cxn>
                <a:cxn ang="0">
                  <a:pos x="321" y="0"/>
                </a:cxn>
                <a:cxn ang="0">
                  <a:pos x="0" y="307"/>
                </a:cxn>
                <a:cxn ang="0">
                  <a:pos x="321" y="621"/>
                </a:cxn>
                <a:cxn ang="0">
                  <a:pos x="321" y="621"/>
                </a:cxn>
                <a:cxn ang="0">
                  <a:pos x="162" y="307"/>
                </a:cxn>
                <a:cxn ang="0">
                  <a:pos x="162" y="307"/>
                </a:cxn>
                <a:cxn ang="0">
                  <a:pos x="321" y="125"/>
                </a:cxn>
                <a:cxn ang="0">
                  <a:pos x="477" y="307"/>
                </a:cxn>
                <a:cxn ang="0">
                  <a:pos x="321" y="495"/>
                </a:cxn>
                <a:cxn ang="0">
                  <a:pos x="162" y="307"/>
                </a:cxn>
              </a:cxnLst>
              <a:rect l="0" t="0" r="r" b="b"/>
              <a:pathLst>
                <a:path w="639" h="621">
                  <a:moveTo>
                    <a:pt x="321" y="621"/>
                  </a:moveTo>
                  <a:lnTo>
                    <a:pt x="321" y="621"/>
                  </a:lnTo>
                  <a:cubicBezTo>
                    <a:pt x="512" y="621"/>
                    <a:pt x="639" y="480"/>
                    <a:pt x="639" y="307"/>
                  </a:cubicBezTo>
                  <a:cubicBezTo>
                    <a:pt x="639" y="124"/>
                    <a:pt x="511" y="0"/>
                    <a:pt x="321" y="0"/>
                  </a:cubicBezTo>
                  <a:cubicBezTo>
                    <a:pt x="130" y="0"/>
                    <a:pt x="0" y="121"/>
                    <a:pt x="0" y="307"/>
                  </a:cubicBezTo>
                  <a:cubicBezTo>
                    <a:pt x="0" y="489"/>
                    <a:pt x="132" y="621"/>
                    <a:pt x="321" y="621"/>
                  </a:cubicBezTo>
                  <a:lnTo>
                    <a:pt x="321" y="621"/>
                  </a:lnTo>
                  <a:close/>
                  <a:moveTo>
                    <a:pt x="162" y="307"/>
                  </a:moveTo>
                  <a:lnTo>
                    <a:pt x="162" y="307"/>
                  </a:lnTo>
                  <a:cubicBezTo>
                    <a:pt x="162" y="198"/>
                    <a:pt x="214" y="125"/>
                    <a:pt x="321" y="125"/>
                  </a:cubicBezTo>
                  <a:cubicBezTo>
                    <a:pt x="425" y="125"/>
                    <a:pt x="477" y="192"/>
                    <a:pt x="477" y="307"/>
                  </a:cubicBezTo>
                  <a:cubicBezTo>
                    <a:pt x="477" y="413"/>
                    <a:pt x="426" y="495"/>
                    <a:pt x="321" y="495"/>
                  </a:cubicBezTo>
                  <a:cubicBezTo>
                    <a:pt x="220" y="495"/>
                    <a:pt x="162" y="415"/>
                    <a:pt x="162" y="307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" name="Freeform 16"/>
            <p:cNvSpPr>
              <a:spLocks noChangeAspect="1"/>
            </p:cNvSpPr>
            <p:nvPr/>
          </p:nvSpPr>
          <p:spPr bwMode="gray">
            <a:xfrm>
              <a:off x="3892" y="2758"/>
              <a:ext cx="409" cy="570"/>
            </a:xfrm>
            <a:custGeom>
              <a:avLst/>
              <a:gdLst/>
              <a:ahLst/>
              <a:cxnLst>
                <a:cxn ang="0">
                  <a:pos x="377" y="128"/>
                </a:cxn>
                <a:cxn ang="0">
                  <a:pos x="377" y="128"/>
                </a:cxn>
                <a:cxn ang="0">
                  <a:pos x="270" y="114"/>
                </a:cxn>
                <a:cxn ang="0">
                  <a:pos x="163" y="160"/>
                </a:cxn>
                <a:cxn ang="0">
                  <a:pos x="290" y="260"/>
                </a:cxn>
                <a:cxn ang="0">
                  <a:pos x="441" y="443"/>
                </a:cxn>
                <a:cxn ang="0">
                  <a:pos x="187" y="621"/>
                </a:cxn>
                <a:cxn ang="0">
                  <a:pos x="11" y="594"/>
                </a:cxn>
                <a:cxn ang="0">
                  <a:pos x="11" y="469"/>
                </a:cxn>
                <a:cxn ang="0">
                  <a:pos x="193" y="506"/>
                </a:cxn>
                <a:cxn ang="0">
                  <a:pos x="279" y="448"/>
                </a:cxn>
                <a:cxn ang="0">
                  <a:pos x="153" y="349"/>
                </a:cxn>
                <a:cxn ang="0">
                  <a:pos x="0" y="160"/>
                </a:cxn>
                <a:cxn ang="0">
                  <a:pos x="243" y="0"/>
                </a:cxn>
                <a:cxn ang="0">
                  <a:pos x="377" y="10"/>
                </a:cxn>
                <a:cxn ang="0">
                  <a:pos x="377" y="128"/>
                </a:cxn>
              </a:cxnLst>
              <a:rect l="0" t="0" r="r" b="b"/>
              <a:pathLst>
                <a:path w="441" h="621">
                  <a:moveTo>
                    <a:pt x="377" y="128"/>
                  </a:moveTo>
                  <a:lnTo>
                    <a:pt x="377" y="128"/>
                  </a:lnTo>
                  <a:cubicBezTo>
                    <a:pt x="341" y="122"/>
                    <a:pt x="306" y="114"/>
                    <a:pt x="270" y="114"/>
                  </a:cubicBezTo>
                  <a:cubicBezTo>
                    <a:pt x="207" y="114"/>
                    <a:pt x="163" y="129"/>
                    <a:pt x="163" y="160"/>
                  </a:cubicBezTo>
                  <a:cubicBezTo>
                    <a:pt x="163" y="195"/>
                    <a:pt x="223" y="224"/>
                    <a:pt x="290" y="260"/>
                  </a:cubicBezTo>
                  <a:cubicBezTo>
                    <a:pt x="353" y="294"/>
                    <a:pt x="441" y="340"/>
                    <a:pt x="441" y="443"/>
                  </a:cubicBezTo>
                  <a:cubicBezTo>
                    <a:pt x="441" y="557"/>
                    <a:pt x="340" y="621"/>
                    <a:pt x="187" y="621"/>
                  </a:cubicBezTo>
                  <a:cubicBezTo>
                    <a:pt x="117" y="621"/>
                    <a:pt x="69" y="607"/>
                    <a:pt x="11" y="594"/>
                  </a:cubicBezTo>
                  <a:lnTo>
                    <a:pt x="11" y="469"/>
                  </a:lnTo>
                  <a:cubicBezTo>
                    <a:pt x="56" y="482"/>
                    <a:pt x="128" y="506"/>
                    <a:pt x="193" y="506"/>
                  </a:cubicBezTo>
                  <a:cubicBezTo>
                    <a:pt x="236" y="506"/>
                    <a:pt x="279" y="487"/>
                    <a:pt x="279" y="448"/>
                  </a:cubicBezTo>
                  <a:cubicBezTo>
                    <a:pt x="279" y="412"/>
                    <a:pt x="227" y="391"/>
                    <a:pt x="153" y="349"/>
                  </a:cubicBezTo>
                  <a:cubicBezTo>
                    <a:pt x="86" y="316"/>
                    <a:pt x="0" y="247"/>
                    <a:pt x="0" y="160"/>
                  </a:cubicBezTo>
                  <a:cubicBezTo>
                    <a:pt x="0" y="57"/>
                    <a:pt x="104" y="0"/>
                    <a:pt x="243" y="0"/>
                  </a:cubicBezTo>
                  <a:cubicBezTo>
                    <a:pt x="288" y="0"/>
                    <a:pt x="333" y="4"/>
                    <a:pt x="377" y="10"/>
                  </a:cubicBezTo>
                  <a:lnTo>
                    <a:pt x="377" y="128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7" name="Freeform 17"/>
            <p:cNvSpPr>
              <a:spLocks noChangeAspect="1"/>
            </p:cNvSpPr>
            <p:nvPr/>
          </p:nvSpPr>
          <p:spPr bwMode="gray">
            <a:xfrm>
              <a:off x="1772" y="2564"/>
              <a:ext cx="215" cy="743"/>
            </a:xfrm>
            <a:custGeom>
              <a:avLst/>
              <a:gdLst/>
              <a:ahLst/>
              <a:cxnLst>
                <a:cxn ang="0">
                  <a:pos x="18" y="817"/>
                </a:cxn>
                <a:cxn ang="0">
                  <a:pos x="18" y="817"/>
                </a:cxn>
                <a:cxn ang="0">
                  <a:pos x="24" y="606"/>
                </a:cxn>
                <a:cxn ang="0">
                  <a:pos x="24" y="287"/>
                </a:cxn>
                <a:cxn ang="0">
                  <a:pos x="0" y="0"/>
                </a:cxn>
                <a:cxn ang="0">
                  <a:pos x="211" y="0"/>
                </a:cxn>
                <a:cxn ang="0">
                  <a:pos x="205" y="232"/>
                </a:cxn>
                <a:cxn ang="0">
                  <a:pos x="205" y="530"/>
                </a:cxn>
                <a:cxn ang="0">
                  <a:pos x="229" y="817"/>
                </a:cxn>
                <a:cxn ang="0">
                  <a:pos x="18" y="817"/>
                </a:cxn>
              </a:cxnLst>
              <a:rect l="0" t="0" r="r" b="b"/>
              <a:pathLst>
                <a:path w="229" h="817">
                  <a:moveTo>
                    <a:pt x="18" y="817"/>
                  </a:moveTo>
                  <a:lnTo>
                    <a:pt x="18" y="817"/>
                  </a:lnTo>
                  <a:cubicBezTo>
                    <a:pt x="22" y="750"/>
                    <a:pt x="24" y="699"/>
                    <a:pt x="24" y="606"/>
                  </a:cubicBezTo>
                  <a:lnTo>
                    <a:pt x="24" y="287"/>
                  </a:lnTo>
                  <a:cubicBezTo>
                    <a:pt x="24" y="172"/>
                    <a:pt x="17" y="85"/>
                    <a:pt x="0" y="0"/>
                  </a:cubicBezTo>
                  <a:lnTo>
                    <a:pt x="211" y="0"/>
                  </a:lnTo>
                  <a:cubicBezTo>
                    <a:pt x="211" y="59"/>
                    <a:pt x="205" y="140"/>
                    <a:pt x="205" y="232"/>
                  </a:cubicBezTo>
                  <a:lnTo>
                    <a:pt x="205" y="530"/>
                  </a:lnTo>
                  <a:cubicBezTo>
                    <a:pt x="205" y="614"/>
                    <a:pt x="218" y="739"/>
                    <a:pt x="229" y="817"/>
                  </a:cubicBezTo>
                  <a:lnTo>
                    <a:pt x="18" y="817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" name="Freeform 18"/>
            <p:cNvSpPr>
              <a:spLocks noChangeAspect="1" noEditPoints="1"/>
            </p:cNvSpPr>
            <p:nvPr/>
          </p:nvSpPr>
          <p:spPr bwMode="gray">
            <a:xfrm>
              <a:off x="2095" y="2758"/>
              <a:ext cx="602" cy="785"/>
            </a:xfrm>
            <a:custGeom>
              <a:avLst/>
              <a:gdLst/>
              <a:ahLst/>
              <a:cxnLst>
                <a:cxn ang="0">
                  <a:pos x="210" y="851"/>
                </a:cxn>
                <a:cxn ang="0">
                  <a:pos x="210" y="851"/>
                </a:cxn>
                <a:cxn ang="0">
                  <a:pos x="198" y="632"/>
                </a:cxn>
                <a:cxn ang="0">
                  <a:pos x="198" y="564"/>
                </a:cxn>
                <a:cxn ang="0">
                  <a:pos x="385" y="621"/>
                </a:cxn>
                <a:cxn ang="0">
                  <a:pos x="662" y="322"/>
                </a:cxn>
                <a:cxn ang="0">
                  <a:pos x="378" y="0"/>
                </a:cxn>
                <a:cxn ang="0">
                  <a:pos x="174" y="98"/>
                </a:cxn>
                <a:cxn ang="0">
                  <a:pos x="153" y="15"/>
                </a:cxn>
                <a:cxn ang="0">
                  <a:pos x="0" y="26"/>
                </a:cxn>
                <a:cxn ang="0">
                  <a:pos x="36" y="323"/>
                </a:cxn>
                <a:cxn ang="0">
                  <a:pos x="36" y="564"/>
                </a:cxn>
                <a:cxn ang="0">
                  <a:pos x="12" y="863"/>
                </a:cxn>
                <a:cxn ang="0">
                  <a:pos x="210" y="851"/>
                </a:cxn>
                <a:cxn ang="0">
                  <a:pos x="210" y="851"/>
                </a:cxn>
                <a:cxn ang="0">
                  <a:pos x="186" y="323"/>
                </a:cxn>
                <a:cxn ang="0">
                  <a:pos x="186" y="323"/>
                </a:cxn>
                <a:cxn ang="0">
                  <a:pos x="338" y="125"/>
                </a:cxn>
                <a:cxn ang="0">
                  <a:pos x="500" y="323"/>
                </a:cxn>
                <a:cxn ang="0">
                  <a:pos x="345" y="495"/>
                </a:cxn>
                <a:cxn ang="0">
                  <a:pos x="186" y="323"/>
                </a:cxn>
              </a:cxnLst>
              <a:rect l="0" t="0" r="r" b="b"/>
              <a:pathLst>
                <a:path w="662" h="863">
                  <a:moveTo>
                    <a:pt x="210" y="851"/>
                  </a:moveTo>
                  <a:lnTo>
                    <a:pt x="210" y="851"/>
                  </a:lnTo>
                  <a:cubicBezTo>
                    <a:pt x="198" y="763"/>
                    <a:pt x="198" y="664"/>
                    <a:pt x="198" y="632"/>
                  </a:cubicBezTo>
                  <a:lnTo>
                    <a:pt x="198" y="564"/>
                  </a:lnTo>
                  <a:cubicBezTo>
                    <a:pt x="242" y="589"/>
                    <a:pt x="288" y="621"/>
                    <a:pt x="385" y="621"/>
                  </a:cubicBezTo>
                  <a:cubicBezTo>
                    <a:pt x="550" y="621"/>
                    <a:pt x="662" y="495"/>
                    <a:pt x="662" y="322"/>
                  </a:cubicBezTo>
                  <a:cubicBezTo>
                    <a:pt x="662" y="134"/>
                    <a:pt x="546" y="0"/>
                    <a:pt x="378" y="0"/>
                  </a:cubicBezTo>
                  <a:cubicBezTo>
                    <a:pt x="261" y="0"/>
                    <a:pt x="213" y="56"/>
                    <a:pt x="174" y="98"/>
                  </a:cubicBezTo>
                  <a:cubicBezTo>
                    <a:pt x="166" y="67"/>
                    <a:pt x="162" y="41"/>
                    <a:pt x="153" y="15"/>
                  </a:cubicBezTo>
                  <a:lnTo>
                    <a:pt x="0" y="26"/>
                  </a:lnTo>
                  <a:cubicBezTo>
                    <a:pt x="19" y="127"/>
                    <a:pt x="36" y="220"/>
                    <a:pt x="36" y="323"/>
                  </a:cubicBezTo>
                  <a:lnTo>
                    <a:pt x="36" y="564"/>
                  </a:lnTo>
                  <a:cubicBezTo>
                    <a:pt x="36" y="648"/>
                    <a:pt x="18" y="808"/>
                    <a:pt x="12" y="863"/>
                  </a:cubicBezTo>
                  <a:lnTo>
                    <a:pt x="210" y="851"/>
                  </a:lnTo>
                  <a:lnTo>
                    <a:pt x="210" y="851"/>
                  </a:lnTo>
                  <a:close/>
                  <a:moveTo>
                    <a:pt x="186" y="323"/>
                  </a:moveTo>
                  <a:lnTo>
                    <a:pt x="186" y="323"/>
                  </a:lnTo>
                  <a:cubicBezTo>
                    <a:pt x="186" y="206"/>
                    <a:pt x="236" y="125"/>
                    <a:pt x="338" y="125"/>
                  </a:cubicBezTo>
                  <a:cubicBezTo>
                    <a:pt x="433" y="125"/>
                    <a:pt x="500" y="207"/>
                    <a:pt x="500" y="323"/>
                  </a:cubicBezTo>
                  <a:cubicBezTo>
                    <a:pt x="500" y="426"/>
                    <a:pt x="448" y="495"/>
                    <a:pt x="345" y="495"/>
                  </a:cubicBezTo>
                  <a:cubicBezTo>
                    <a:pt x="244" y="495"/>
                    <a:pt x="186" y="437"/>
                    <a:pt x="186" y="323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9" name="Freeform 19"/>
            <p:cNvSpPr>
              <a:spLocks noChangeAspect="1"/>
            </p:cNvSpPr>
            <p:nvPr/>
          </p:nvSpPr>
          <p:spPr bwMode="gray">
            <a:xfrm>
              <a:off x="2773" y="2758"/>
              <a:ext cx="398" cy="570"/>
            </a:xfrm>
            <a:custGeom>
              <a:avLst/>
              <a:gdLst/>
              <a:ahLst/>
              <a:cxnLst>
                <a:cxn ang="0">
                  <a:pos x="364" y="126"/>
                </a:cxn>
                <a:cxn ang="0">
                  <a:pos x="364" y="126"/>
                </a:cxn>
                <a:cxn ang="0">
                  <a:pos x="270" y="114"/>
                </a:cxn>
                <a:cxn ang="0">
                  <a:pos x="162" y="160"/>
                </a:cxn>
                <a:cxn ang="0">
                  <a:pos x="289" y="260"/>
                </a:cxn>
                <a:cxn ang="0">
                  <a:pos x="440" y="443"/>
                </a:cxn>
                <a:cxn ang="0">
                  <a:pos x="186" y="621"/>
                </a:cxn>
                <a:cxn ang="0">
                  <a:pos x="11" y="594"/>
                </a:cxn>
                <a:cxn ang="0">
                  <a:pos x="11" y="469"/>
                </a:cxn>
                <a:cxn ang="0">
                  <a:pos x="192" y="506"/>
                </a:cxn>
                <a:cxn ang="0">
                  <a:pos x="278" y="448"/>
                </a:cxn>
                <a:cxn ang="0">
                  <a:pos x="152" y="349"/>
                </a:cxn>
                <a:cxn ang="0">
                  <a:pos x="0" y="160"/>
                </a:cxn>
                <a:cxn ang="0">
                  <a:pos x="242" y="0"/>
                </a:cxn>
                <a:cxn ang="0">
                  <a:pos x="387" y="12"/>
                </a:cxn>
                <a:cxn ang="0">
                  <a:pos x="364" y="126"/>
                </a:cxn>
              </a:cxnLst>
              <a:rect l="0" t="0" r="r" b="b"/>
              <a:pathLst>
                <a:path w="440" h="621">
                  <a:moveTo>
                    <a:pt x="364" y="126"/>
                  </a:moveTo>
                  <a:lnTo>
                    <a:pt x="364" y="126"/>
                  </a:lnTo>
                  <a:cubicBezTo>
                    <a:pt x="328" y="120"/>
                    <a:pt x="306" y="114"/>
                    <a:pt x="270" y="114"/>
                  </a:cubicBezTo>
                  <a:cubicBezTo>
                    <a:pt x="206" y="114"/>
                    <a:pt x="162" y="129"/>
                    <a:pt x="162" y="160"/>
                  </a:cubicBezTo>
                  <a:cubicBezTo>
                    <a:pt x="162" y="195"/>
                    <a:pt x="222" y="224"/>
                    <a:pt x="289" y="260"/>
                  </a:cubicBezTo>
                  <a:cubicBezTo>
                    <a:pt x="353" y="294"/>
                    <a:pt x="440" y="340"/>
                    <a:pt x="440" y="443"/>
                  </a:cubicBezTo>
                  <a:cubicBezTo>
                    <a:pt x="440" y="557"/>
                    <a:pt x="339" y="621"/>
                    <a:pt x="186" y="621"/>
                  </a:cubicBezTo>
                  <a:cubicBezTo>
                    <a:pt x="116" y="621"/>
                    <a:pt x="68" y="607"/>
                    <a:pt x="11" y="594"/>
                  </a:cubicBezTo>
                  <a:lnTo>
                    <a:pt x="11" y="469"/>
                  </a:lnTo>
                  <a:cubicBezTo>
                    <a:pt x="55" y="482"/>
                    <a:pt x="127" y="506"/>
                    <a:pt x="192" y="506"/>
                  </a:cubicBezTo>
                  <a:cubicBezTo>
                    <a:pt x="235" y="506"/>
                    <a:pt x="278" y="487"/>
                    <a:pt x="278" y="448"/>
                  </a:cubicBezTo>
                  <a:cubicBezTo>
                    <a:pt x="278" y="412"/>
                    <a:pt x="227" y="391"/>
                    <a:pt x="152" y="349"/>
                  </a:cubicBezTo>
                  <a:cubicBezTo>
                    <a:pt x="85" y="316"/>
                    <a:pt x="0" y="247"/>
                    <a:pt x="0" y="160"/>
                  </a:cubicBezTo>
                  <a:cubicBezTo>
                    <a:pt x="0" y="57"/>
                    <a:pt x="103" y="0"/>
                    <a:pt x="242" y="0"/>
                  </a:cubicBezTo>
                  <a:cubicBezTo>
                    <a:pt x="288" y="0"/>
                    <a:pt x="342" y="6"/>
                    <a:pt x="387" y="12"/>
                  </a:cubicBezTo>
                  <a:lnTo>
                    <a:pt x="364" y="126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8" name="Titel 1"/>
          <p:cNvSpPr>
            <a:spLocks noGrp="1"/>
          </p:cNvSpPr>
          <p:nvPr>
            <p:ph type="ctrTitle"/>
          </p:nvPr>
        </p:nvSpPr>
        <p:spPr>
          <a:xfrm>
            <a:off x="1099057" y="2113200"/>
            <a:ext cx="5279313" cy="997196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90000"/>
              </a:lnSpc>
              <a:defRPr sz="3600" b="1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29" name="Untertitel 2"/>
          <p:cNvSpPr>
            <a:spLocks noGrp="1"/>
          </p:cNvSpPr>
          <p:nvPr>
            <p:ph type="subTitle" idx="1"/>
          </p:nvPr>
        </p:nvSpPr>
        <p:spPr>
          <a:xfrm>
            <a:off x="1099057" y="3171599"/>
            <a:ext cx="5039344" cy="10800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>
              <a:lnSpc>
                <a:spcPct val="90000"/>
              </a:lnSpc>
              <a:spcBef>
                <a:spcPts val="1000"/>
              </a:spcBef>
              <a:buNone/>
              <a:defRPr sz="28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pic>
        <p:nvPicPr>
          <p:cNvPr id="38" name="Grafik 3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2587" y="368660"/>
            <a:ext cx="4565287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37532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.png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7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image" Target="../media/image5.jpeg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image" Target="../media/image4.jpeg"/><Relationship Id="rId5" Type="http://schemas.openxmlformats.org/officeDocument/2006/relationships/slideLayout" Target="../slideLayouts/slideLayout17.xml"/><Relationship Id="rId10" Type="http://schemas.openxmlformats.org/officeDocument/2006/relationships/image" Target="../media/image3.jpeg"/><Relationship Id="rId4" Type="http://schemas.openxmlformats.org/officeDocument/2006/relationships/slideLayout" Target="../slideLayouts/slideLayout16.xml"/><Relationship Id="rId9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11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117456" y="87314"/>
            <a:ext cx="10876135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2181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9841" y="977901"/>
            <a:ext cx="10315290" cy="548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218117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819313" y="6563797"/>
            <a:ext cx="182742" cy="184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buFontTx/>
              <a:buNone/>
              <a:defRPr sz="1200" b="1"/>
            </a:lvl1pPr>
          </a:lstStyle>
          <a:p>
            <a:fld id="{0FE30328-C834-48E7-B9C8-527F9A6C821A}" type="slidenum">
              <a:rPr lang="en-US">
                <a:solidFill>
                  <a:srgbClr val="1F497D"/>
                </a:solidFill>
              </a:rPr>
              <a:pPr/>
              <a:t>‹#›</a:t>
            </a:fld>
            <a:endParaRPr lang="en-US" dirty="0">
              <a:solidFill>
                <a:srgbClr val="1F497D"/>
              </a:solidFill>
            </a:endParaRPr>
          </a:p>
        </p:txBody>
      </p:sp>
      <p:grpSp>
        <p:nvGrpSpPr>
          <p:cNvPr id="218118" name="Group 6"/>
          <p:cNvGrpSpPr>
            <a:grpSpLocks noChangeAspect="1"/>
          </p:cNvGrpSpPr>
          <p:nvPr/>
        </p:nvGrpSpPr>
        <p:grpSpPr bwMode="auto">
          <a:xfrm>
            <a:off x="10725464" y="6317261"/>
            <a:ext cx="696292" cy="468312"/>
            <a:chOff x="1352" y="681"/>
            <a:chExt cx="3519" cy="3153"/>
          </a:xfrm>
        </p:grpSpPr>
        <p:sp>
          <p:nvSpPr>
            <p:cNvPr id="218119" name="Freeform 7"/>
            <p:cNvSpPr>
              <a:spLocks noChangeAspect="1"/>
            </p:cNvSpPr>
            <p:nvPr/>
          </p:nvSpPr>
          <p:spPr bwMode="auto">
            <a:xfrm>
              <a:off x="1352" y="681"/>
              <a:ext cx="3519" cy="3153"/>
            </a:xfrm>
            <a:custGeom>
              <a:avLst/>
              <a:gdLst/>
              <a:ahLst/>
              <a:cxnLst>
                <a:cxn ang="0">
                  <a:pos x="0" y="3449"/>
                </a:cxn>
                <a:cxn ang="0">
                  <a:pos x="0" y="3449"/>
                </a:cxn>
                <a:cxn ang="0">
                  <a:pos x="0" y="0"/>
                </a:cxn>
                <a:cxn ang="0">
                  <a:pos x="3696" y="0"/>
                </a:cxn>
                <a:cxn ang="0">
                  <a:pos x="3327" y="3449"/>
                </a:cxn>
                <a:cxn ang="0">
                  <a:pos x="0" y="3449"/>
                </a:cxn>
              </a:cxnLst>
              <a:rect l="0" t="0" r="r" b="b"/>
              <a:pathLst>
                <a:path w="3862" h="3449">
                  <a:moveTo>
                    <a:pt x="0" y="3449"/>
                  </a:moveTo>
                  <a:lnTo>
                    <a:pt x="0" y="3449"/>
                  </a:lnTo>
                  <a:lnTo>
                    <a:pt x="0" y="0"/>
                  </a:lnTo>
                  <a:lnTo>
                    <a:pt x="3696" y="0"/>
                  </a:lnTo>
                  <a:cubicBezTo>
                    <a:pt x="3862" y="1150"/>
                    <a:pt x="3797" y="2241"/>
                    <a:pt x="3327" y="3449"/>
                  </a:cubicBezTo>
                  <a:lnTo>
                    <a:pt x="0" y="3449"/>
                  </a:lnTo>
                  <a:close/>
                </a:path>
              </a:pathLst>
            </a:custGeom>
            <a:solidFill>
              <a:srgbClr val="009D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1F497D"/>
                </a:solidFill>
              </a:endParaRPr>
            </a:p>
          </p:txBody>
        </p:sp>
        <p:sp>
          <p:nvSpPr>
            <p:cNvPr id="218120" name="Freeform 8"/>
            <p:cNvSpPr>
              <a:spLocks noChangeAspect="1"/>
            </p:cNvSpPr>
            <p:nvPr/>
          </p:nvSpPr>
          <p:spPr bwMode="auto">
            <a:xfrm>
              <a:off x="2708" y="1843"/>
              <a:ext cx="75" cy="54"/>
            </a:xfrm>
            <a:custGeom>
              <a:avLst/>
              <a:gdLst/>
              <a:ahLst/>
              <a:cxnLst>
                <a:cxn ang="0">
                  <a:pos x="16" y="40"/>
                </a:cxn>
                <a:cxn ang="0">
                  <a:pos x="16" y="40"/>
                </a:cxn>
                <a:cxn ang="0">
                  <a:pos x="0" y="54"/>
                </a:cxn>
                <a:cxn ang="0">
                  <a:pos x="79" y="22"/>
                </a:cxn>
                <a:cxn ang="0">
                  <a:pos x="81" y="0"/>
                </a:cxn>
                <a:cxn ang="0">
                  <a:pos x="16" y="40"/>
                </a:cxn>
              </a:cxnLst>
              <a:rect l="0" t="0" r="r" b="b"/>
              <a:pathLst>
                <a:path w="81" h="66">
                  <a:moveTo>
                    <a:pt x="16" y="40"/>
                  </a:moveTo>
                  <a:lnTo>
                    <a:pt x="16" y="40"/>
                  </a:lnTo>
                  <a:lnTo>
                    <a:pt x="0" y="54"/>
                  </a:lnTo>
                  <a:cubicBezTo>
                    <a:pt x="35" y="66"/>
                    <a:pt x="72" y="42"/>
                    <a:pt x="79" y="22"/>
                  </a:cubicBezTo>
                  <a:lnTo>
                    <a:pt x="81" y="0"/>
                  </a:lnTo>
                  <a:cubicBezTo>
                    <a:pt x="54" y="6"/>
                    <a:pt x="27" y="19"/>
                    <a:pt x="16" y="40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1F497D"/>
                </a:solidFill>
              </a:endParaRPr>
            </a:p>
          </p:txBody>
        </p:sp>
        <p:sp>
          <p:nvSpPr>
            <p:cNvPr id="218121" name="Freeform 9"/>
            <p:cNvSpPr>
              <a:spLocks noChangeAspect="1"/>
            </p:cNvSpPr>
            <p:nvPr/>
          </p:nvSpPr>
          <p:spPr bwMode="auto">
            <a:xfrm>
              <a:off x="2869" y="1972"/>
              <a:ext cx="65" cy="54"/>
            </a:xfrm>
            <a:custGeom>
              <a:avLst/>
              <a:gdLst/>
              <a:ahLst/>
              <a:cxnLst>
                <a:cxn ang="0">
                  <a:pos x="27" y="1"/>
                </a:cxn>
                <a:cxn ang="0">
                  <a:pos x="27" y="1"/>
                </a:cxn>
                <a:cxn ang="0">
                  <a:pos x="0" y="0"/>
                </a:cxn>
                <a:cxn ang="0">
                  <a:pos x="33" y="58"/>
                </a:cxn>
                <a:cxn ang="0">
                  <a:pos x="53" y="63"/>
                </a:cxn>
                <a:cxn ang="0">
                  <a:pos x="27" y="1"/>
                </a:cxn>
              </a:cxnLst>
              <a:rect l="0" t="0" r="r" b="b"/>
              <a:pathLst>
                <a:path w="81" h="63">
                  <a:moveTo>
                    <a:pt x="27" y="1"/>
                  </a:moveTo>
                  <a:lnTo>
                    <a:pt x="27" y="1"/>
                  </a:lnTo>
                  <a:lnTo>
                    <a:pt x="0" y="0"/>
                  </a:lnTo>
                  <a:cubicBezTo>
                    <a:pt x="0" y="24"/>
                    <a:pt x="8" y="43"/>
                    <a:pt x="33" y="58"/>
                  </a:cubicBezTo>
                  <a:lnTo>
                    <a:pt x="53" y="63"/>
                  </a:lnTo>
                  <a:cubicBezTo>
                    <a:pt x="81" y="39"/>
                    <a:pt x="44" y="15"/>
                    <a:pt x="27" y="1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1F497D"/>
                </a:solidFill>
              </a:endParaRPr>
            </a:p>
          </p:txBody>
        </p:sp>
        <p:sp>
          <p:nvSpPr>
            <p:cNvPr id="218122" name="Freeform 10"/>
            <p:cNvSpPr>
              <a:spLocks noChangeAspect="1"/>
            </p:cNvSpPr>
            <p:nvPr/>
          </p:nvSpPr>
          <p:spPr bwMode="auto">
            <a:xfrm>
              <a:off x="2622" y="1413"/>
              <a:ext cx="86" cy="75"/>
            </a:xfrm>
            <a:custGeom>
              <a:avLst/>
              <a:gdLst/>
              <a:ahLst/>
              <a:cxnLst>
                <a:cxn ang="0">
                  <a:pos x="20" y="50"/>
                </a:cxn>
                <a:cxn ang="0">
                  <a:pos x="20" y="50"/>
                </a:cxn>
                <a:cxn ang="0">
                  <a:pos x="0" y="64"/>
                </a:cxn>
                <a:cxn ang="0">
                  <a:pos x="89" y="27"/>
                </a:cxn>
                <a:cxn ang="0">
                  <a:pos x="96" y="0"/>
                </a:cxn>
                <a:cxn ang="0">
                  <a:pos x="20" y="50"/>
                </a:cxn>
              </a:cxnLst>
              <a:rect l="0" t="0" r="r" b="b"/>
              <a:pathLst>
                <a:path w="96" h="79">
                  <a:moveTo>
                    <a:pt x="20" y="50"/>
                  </a:moveTo>
                  <a:lnTo>
                    <a:pt x="20" y="50"/>
                  </a:lnTo>
                  <a:lnTo>
                    <a:pt x="0" y="64"/>
                  </a:lnTo>
                  <a:cubicBezTo>
                    <a:pt x="41" y="79"/>
                    <a:pt x="75" y="57"/>
                    <a:pt x="89" y="27"/>
                  </a:cubicBezTo>
                  <a:lnTo>
                    <a:pt x="96" y="0"/>
                  </a:lnTo>
                  <a:cubicBezTo>
                    <a:pt x="63" y="8"/>
                    <a:pt x="38" y="8"/>
                    <a:pt x="20" y="50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1F497D"/>
                </a:solidFill>
              </a:endParaRPr>
            </a:p>
          </p:txBody>
        </p:sp>
        <p:sp>
          <p:nvSpPr>
            <p:cNvPr id="218123" name="Freeform 11"/>
            <p:cNvSpPr>
              <a:spLocks noChangeAspect="1"/>
            </p:cNvSpPr>
            <p:nvPr/>
          </p:nvSpPr>
          <p:spPr bwMode="auto">
            <a:xfrm>
              <a:off x="2568" y="1563"/>
              <a:ext cx="75" cy="76"/>
            </a:xfrm>
            <a:custGeom>
              <a:avLst/>
              <a:gdLst/>
              <a:ahLst/>
              <a:cxnLst>
                <a:cxn ang="0">
                  <a:pos x="77" y="22"/>
                </a:cxn>
                <a:cxn ang="0">
                  <a:pos x="77" y="22"/>
                </a:cxn>
                <a:cxn ang="0">
                  <a:pos x="71" y="0"/>
                </a:cxn>
                <a:cxn ang="0">
                  <a:pos x="0" y="44"/>
                </a:cxn>
                <a:cxn ang="0">
                  <a:pos x="0" y="62"/>
                </a:cxn>
                <a:cxn ang="0">
                  <a:pos x="77" y="22"/>
                </a:cxn>
              </a:cxnLst>
              <a:rect l="0" t="0" r="r" b="b"/>
              <a:pathLst>
                <a:path w="77" h="77">
                  <a:moveTo>
                    <a:pt x="77" y="22"/>
                  </a:moveTo>
                  <a:lnTo>
                    <a:pt x="77" y="22"/>
                  </a:lnTo>
                  <a:lnTo>
                    <a:pt x="71" y="0"/>
                  </a:lnTo>
                  <a:cubicBezTo>
                    <a:pt x="38" y="7"/>
                    <a:pt x="14" y="19"/>
                    <a:pt x="0" y="44"/>
                  </a:cubicBezTo>
                  <a:lnTo>
                    <a:pt x="0" y="62"/>
                  </a:lnTo>
                  <a:cubicBezTo>
                    <a:pt x="42" y="77"/>
                    <a:pt x="64" y="40"/>
                    <a:pt x="77" y="22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1F497D"/>
                </a:solidFill>
              </a:endParaRPr>
            </a:p>
          </p:txBody>
        </p:sp>
        <p:sp>
          <p:nvSpPr>
            <p:cNvPr id="218124" name="Freeform 12"/>
            <p:cNvSpPr>
              <a:spLocks noChangeAspect="1"/>
            </p:cNvSpPr>
            <p:nvPr/>
          </p:nvSpPr>
          <p:spPr bwMode="auto">
            <a:xfrm>
              <a:off x="2547" y="1725"/>
              <a:ext cx="86" cy="64"/>
            </a:xfrm>
            <a:custGeom>
              <a:avLst/>
              <a:gdLst/>
              <a:ahLst/>
              <a:cxnLst>
                <a:cxn ang="0">
                  <a:pos x="0" y="52"/>
                </a:cxn>
                <a:cxn ang="0">
                  <a:pos x="0" y="52"/>
                </a:cxn>
                <a:cxn ang="0">
                  <a:pos x="14" y="60"/>
                </a:cxn>
                <a:cxn ang="0">
                  <a:pos x="73" y="23"/>
                </a:cxn>
                <a:cxn ang="0">
                  <a:pos x="90" y="8"/>
                </a:cxn>
                <a:cxn ang="0">
                  <a:pos x="0" y="52"/>
                </a:cxn>
              </a:cxnLst>
              <a:rect l="0" t="0" r="r" b="b"/>
              <a:pathLst>
                <a:path w="90" h="74">
                  <a:moveTo>
                    <a:pt x="0" y="52"/>
                  </a:moveTo>
                  <a:lnTo>
                    <a:pt x="0" y="52"/>
                  </a:lnTo>
                  <a:lnTo>
                    <a:pt x="14" y="60"/>
                  </a:lnTo>
                  <a:cubicBezTo>
                    <a:pt x="59" y="74"/>
                    <a:pt x="62" y="38"/>
                    <a:pt x="73" y="23"/>
                  </a:cubicBezTo>
                  <a:lnTo>
                    <a:pt x="90" y="8"/>
                  </a:lnTo>
                  <a:cubicBezTo>
                    <a:pt x="48" y="0"/>
                    <a:pt x="11" y="31"/>
                    <a:pt x="0" y="52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1F497D"/>
                </a:solidFill>
              </a:endParaRPr>
            </a:p>
          </p:txBody>
        </p:sp>
        <p:sp>
          <p:nvSpPr>
            <p:cNvPr id="218125" name="Freeform 13"/>
            <p:cNvSpPr>
              <a:spLocks noChangeAspect="1"/>
            </p:cNvSpPr>
            <p:nvPr/>
          </p:nvSpPr>
          <p:spPr bwMode="auto">
            <a:xfrm>
              <a:off x="2773" y="1176"/>
              <a:ext cx="86" cy="75"/>
            </a:xfrm>
            <a:custGeom>
              <a:avLst/>
              <a:gdLst/>
              <a:ahLst/>
              <a:cxnLst>
                <a:cxn ang="0">
                  <a:pos x="16" y="4"/>
                </a:cxn>
                <a:cxn ang="0">
                  <a:pos x="16" y="4"/>
                </a:cxn>
                <a:cxn ang="0">
                  <a:pos x="0" y="12"/>
                </a:cxn>
                <a:cxn ang="0">
                  <a:pos x="86" y="49"/>
                </a:cxn>
                <a:cxn ang="0">
                  <a:pos x="88" y="22"/>
                </a:cxn>
                <a:cxn ang="0">
                  <a:pos x="16" y="4"/>
                </a:cxn>
              </a:cxnLst>
              <a:rect l="0" t="0" r="r" b="b"/>
              <a:pathLst>
                <a:path w="88" h="72">
                  <a:moveTo>
                    <a:pt x="16" y="4"/>
                  </a:moveTo>
                  <a:lnTo>
                    <a:pt x="16" y="4"/>
                  </a:lnTo>
                  <a:lnTo>
                    <a:pt x="0" y="12"/>
                  </a:lnTo>
                  <a:cubicBezTo>
                    <a:pt x="4" y="40"/>
                    <a:pt x="70" y="72"/>
                    <a:pt x="86" y="49"/>
                  </a:cubicBezTo>
                  <a:lnTo>
                    <a:pt x="88" y="22"/>
                  </a:lnTo>
                  <a:cubicBezTo>
                    <a:pt x="67" y="8"/>
                    <a:pt x="45" y="0"/>
                    <a:pt x="16" y="4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1F497D"/>
                </a:solidFill>
              </a:endParaRPr>
            </a:p>
          </p:txBody>
        </p:sp>
        <p:sp>
          <p:nvSpPr>
            <p:cNvPr id="218126" name="Freeform 14"/>
            <p:cNvSpPr>
              <a:spLocks noChangeAspect="1"/>
            </p:cNvSpPr>
            <p:nvPr/>
          </p:nvSpPr>
          <p:spPr bwMode="auto">
            <a:xfrm>
              <a:off x="2955" y="1111"/>
              <a:ext cx="76" cy="87"/>
            </a:xfrm>
            <a:custGeom>
              <a:avLst/>
              <a:gdLst/>
              <a:ahLst/>
              <a:cxnLst>
                <a:cxn ang="0">
                  <a:pos x="46" y="7"/>
                </a:cxn>
                <a:cxn ang="0">
                  <a:pos x="46" y="7"/>
                </a:cxn>
                <a:cxn ang="0">
                  <a:pos x="21" y="0"/>
                </a:cxn>
                <a:cxn ang="0">
                  <a:pos x="14" y="66"/>
                </a:cxn>
                <a:cxn ang="0">
                  <a:pos x="27" y="92"/>
                </a:cxn>
                <a:cxn ang="0">
                  <a:pos x="46" y="7"/>
                </a:cxn>
              </a:cxnLst>
              <a:rect l="0" t="0" r="r" b="b"/>
              <a:pathLst>
                <a:path w="86" h="92">
                  <a:moveTo>
                    <a:pt x="46" y="7"/>
                  </a:moveTo>
                  <a:lnTo>
                    <a:pt x="46" y="7"/>
                  </a:lnTo>
                  <a:lnTo>
                    <a:pt x="21" y="0"/>
                  </a:lnTo>
                  <a:cubicBezTo>
                    <a:pt x="7" y="19"/>
                    <a:pt x="0" y="33"/>
                    <a:pt x="14" y="66"/>
                  </a:cubicBezTo>
                  <a:lnTo>
                    <a:pt x="27" y="92"/>
                  </a:lnTo>
                  <a:cubicBezTo>
                    <a:pt x="57" y="63"/>
                    <a:pt x="86" y="36"/>
                    <a:pt x="46" y="7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1F497D"/>
                </a:solidFill>
              </a:endParaRPr>
            </a:p>
          </p:txBody>
        </p:sp>
        <p:sp>
          <p:nvSpPr>
            <p:cNvPr id="218127" name="Freeform 15"/>
            <p:cNvSpPr>
              <a:spLocks noChangeAspect="1" noEditPoints="1"/>
            </p:cNvSpPr>
            <p:nvPr/>
          </p:nvSpPr>
          <p:spPr bwMode="auto">
            <a:xfrm>
              <a:off x="3149" y="929"/>
              <a:ext cx="667" cy="1678"/>
            </a:xfrm>
            <a:custGeom>
              <a:avLst/>
              <a:gdLst/>
              <a:ahLst/>
              <a:cxnLst>
                <a:cxn ang="0">
                  <a:pos x="451" y="808"/>
                </a:cxn>
                <a:cxn ang="0">
                  <a:pos x="451" y="808"/>
                </a:cxn>
                <a:cxn ang="0">
                  <a:pos x="326" y="776"/>
                </a:cxn>
                <a:cxn ang="0">
                  <a:pos x="477" y="746"/>
                </a:cxn>
                <a:cxn ang="0">
                  <a:pos x="493" y="773"/>
                </a:cxn>
                <a:cxn ang="0">
                  <a:pos x="451" y="808"/>
                </a:cxn>
                <a:cxn ang="0">
                  <a:pos x="451" y="808"/>
                </a:cxn>
                <a:cxn ang="0">
                  <a:pos x="639" y="841"/>
                </a:cxn>
                <a:cxn ang="0">
                  <a:pos x="639" y="841"/>
                </a:cxn>
                <a:cxn ang="0">
                  <a:pos x="601" y="701"/>
                </a:cxn>
                <a:cxn ang="0">
                  <a:pos x="634" y="646"/>
                </a:cxn>
                <a:cxn ang="0">
                  <a:pos x="627" y="477"/>
                </a:cxn>
                <a:cxn ang="0">
                  <a:pos x="641" y="463"/>
                </a:cxn>
                <a:cxn ang="0">
                  <a:pos x="627" y="414"/>
                </a:cxn>
                <a:cxn ang="0">
                  <a:pos x="615" y="342"/>
                </a:cxn>
                <a:cxn ang="0">
                  <a:pos x="590" y="286"/>
                </a:cxn>
                <a:cxn ang="0">
                  <a:pos x="602" y="260"/>
                </a:cxn>
                <a:cxn ang="0">
                  <a:pos x="560" y="236"/>
                </a:cxn>
                <a:cxn ang="0">
                  <a:pos x="523" y="213"/>
                </a:cxn>
                <a:cxn ang="0">
                  <a:pos x="514" y="180"/>
                </a:cxn>
                <a:cxn ang="0">
                  <a:pos x="483" y="195"/>
                </a:cxn>
                <a:cxn ang="0">
                  <a:pos x="476" y="154"/>
                </a:cxn>
                <a:cxn ang="0">
                  <a:pos x="434" y="171"/>
                </a:cxn>
                <a:cxn ang="0">
                  <a:pos x="411" y="119"/>
                </a:cxn>
                <a:cxn ang="0">
                  <a:pos x="389" y="124"/>
                </a:cxn>
                <a:cxn ang="0">
                  <a:pos x="356" y="150"/>
                </a:cxn>
                <a:cxn ang="0">
                  <a:pos x="356" y="101"/>
                </a:cxn>
                <a:cxn ang="0">
                  <a:pos x="341" y="93"/>
                </a:cxn>
                <a:cxn ang="0">
                  <a:pos x="314" y="81"/>
                </a:cxn>
                <a:cxn ang="0">
                  <a:pos x="276" y="97"/>
                </a:cxn>
                <a:cxn ang="0">
                  <a:pos x="292" y="51"/>
                </a:cxn>
                <a:cxn ang="0">
                  <a:pos x="244" y="106"/>
                </a:cxn>
                <a:cxn ang="0">
                  <a:pos x="216" y="112"/>
                </a:cxn>
                <a:cxn ang="0">
                  <a:pos x="266" y="43"/>
                </a:cxn>
                <a:cxn ang="0">
                  <a:pos x="214" y="91"/>
                </a:cxn>
                <a:cxn ang="0">
                  <a:pos x="173" y="98"/>
                </a:cxn>
                <a:cxn ang="0">
                  <a:pos x="186" y="38"/>
                </a:cxn>
                <a:cxn ang="0">
                  <a:pos x="173" y="69"/>
                </a:cxn>
                <a:cxn ang="0">
                  <a:pos x="166" y="36"/>
                </a:cxn>
                <a:cxn ang="0">
                  <a:pos x="142" y="114"/>
                </a:cxn>
                <a:cxn ang="0">
                  <a:pos x="126" y="39"/>
                </a:cxn>
                <a:cxn ang="0">
                  <a:pos x="80" y="112"/>
                </a:cxn>
                <a:cxn ang="0">
                  <a:pos x="56" y="117"/>
                </a:cxn>
                <a:cxn ang="0">
                  <a:pos x="37" y="43"/>
                </a:cxn>
                <a:cxn ang="0">
                  <a:pos x="5" y="1808"/>
                </a:cxn>
                <a:cxn ang="0">
                  <a:pos x="0" y="1840"/>
                </a:cxn>
                <a:cxn ang="0">
                  <a:pos x="162" y="1823"/>
                </a:cxn>
                <a:cxn ang="0">
                  <a:pos x="529" y="1842"/>
                </a:cxn>
                <a:cxn ang="0">
                  <a:pos x="614" y="1829"/>
                </a:cxn>
                <a:cxn ang="0">
                  <a:pos x="421" y="1778"/>
                </a:cxn>
                <a:cxn ang="0">
                  <a:pos x="272" y="1664"/>
                </a:cxn>
                <a:cxn ang="0">
                  <a:pos x="237" y="1566"/>
                </a:cxn>
                <a:cxn ang="0">
                  <a:pos x="239" y="1432"/>
                </a:cxn>
                <a:cxn ang="0">
                  <a:pos x="315" y="1404"/>
                </a:cxn>
                <a:cxn ang="0">
                  <a:pos x="586" y="1387"/>
                </a:cxn>
                <a:cxn ang="0">
                  <a:pos x="605" y="1286"/>
                </a:cxn>
                <a:cxn ang="0">
                  <a:pos x="609" y="1223"/>
                </a:cxn>
                <a:cxn ang="0">
                  <a:pos x="630" y="1174"/>
                </a:cxn>
                <a:cxn ang="0">
                  <a:pos x="590" y="1133"/>
                </a:cxn>
                <a:cxn ang="0">
                  <a:pos x="650" y="1082"/>
                </a:cxn>
                <a:cxn ang="0">
                  <a:pos x="621" y="1018"/>
                </a:cxn>
                <a:cxn ang="0">
                  <a:pos x="704" y="959"/>
                </a:cxn>
                <a:cxn ang="0">
                  <a:pos x="639" y="841"/>
                </a:cxn>
              </a:cxnLst>
              <a:rect l="0" t="0" r="r" b="b"/>
              <a:pathLst>
                <a:path w="724" h="1845">
                  <a:moveTo>
                    <a:pt x="451" y="808"/>
                  </a:moveTo>
                  <a:lnTo>
                    <a:pt x="451" y="808"/>
                  </a:lnTo>
                  <a:cubicBezTo>
                    <a:pt x="397" y="820"/>
                    <a:pt x="315" y="783"/>
                    <a:pt x="326" y="776"/>
                  </a:cubicBezTo>
                  <a:cubicBezTo>
                    <a:pt x="353" y="757"/>
                    <a:pt x="416" y="725"/>
                    <a:pt x="477" y="746"/>
                  </a:cubicBezTo>
                  <a:cubicBezTo>
                    <a:pt x="488" y="750"/>
                    <a:pt x="492" y="760"/>
                    <a:pt x="493" y="773"/>
                  </a:cubicBezTo>
                  <a:cubicBezTo>
                    <a:pt x="496" y="804"/>
                    <a:pt x="471" y="805"/>
                    <a:pt x="451" y="808"/>
                  </a:cubicBezTo>
                  <a:lnTo>
                    <a:pt x="451" y="808"/>
                  </a:lnTo>
                  <a:close/>
                  <a:moveTo>
                    <a:pt x="639" y="841"/>
                  </a:moveTo>
                  <a:lnTo>
                    <a:pt x="639" y="841"/>
                  </a:lnTo>
                  <a:cubicBezTo>
                    <a:pt x="610" y="803"/>
                    <a:pt x="557" y="751"/>
                    <a:pt x="601" y="701"/>
                  </a:cubicBezTo>
                  <a:cubicBezTo>
                    <a:pt x="624" y="684"/>
                    <a:pt x="631" y="670"/>
                    <a:pt x="634" y="646"/>
                  </a:cubicBezTo>
                  <a:cubicBezTo>
                    <a:pt x="644" y="560"/>
                    <a:pt x="639" y="524"/>
                    <a:pt x="627" y="477"/>
                  </a:cubicBezTo>
                  <a:cubicBezTo>
                    <a:pt x="629" y="473"/>
                    <a:pt x="638" y="478"/>
                    <a:pt x="641" y="463"/>
                  </a:cubicBezTo>
                  <a:cubicBezTo>
                    <a:pt x="650" y="422"/>
                    <a:pt x="627" y="414"/>
                    <a:pt x="627" y="414"/>
                  </a:cubicBezTo>
                  <a:cubicBezTo>
                    <a:pt x="645" y="399"/>
                    <a:pt x="643" y="342"/>
                    <a:pt x="615" y="342"/>
                  </a:cubicBezTo>
                  <a:cubicBezTo>
                    <a:pt x="631" y="317"/>
                    <a:pt x="617" y="277"/>
                    <a:pt x="590" y="286"/>
                  </a:cubicBezTo>
                  <a:cubicBezTo>
                    <a:pt x="590" y="286"/>
                    <a:pt x="604" y="278"/>
                    <a:pt x="602" y="260"/>
                  </a:cubicBezTo>
                  <a:cubicBezTo>
                    <a:pt x="599" y="224"/>
                    <a:pt x="547" y="259"/>
                    <a:pt x="560" y="236"/>
                  </a:cubicBezTo>
                  <a:cubicBezTo>
                    <a:pt x="567" y="223"/>
                    <a:pt x="538" y="180"/>
                    <a:pt x="523" y="213"/>
                  </a:cubicBezTo>
                  <a:cubicBezTo>
                    <a:pt x="515" y="207"/>
                    <a:pt x="529" y="187"/>
                    <a:pt x="514" y="180"/>
                  </a:cubicBezTo>
                  <a:cubicBezTo>
                    <a:pt x="504" y="181"/>
                    <a:pt x="495" y="188"/>
                    <a:pt x="483" y="195"/>
                  </a:cubicBezTo>
                  <a:cubicBezTo>
                    <a:pt x="479" y="181"/>
                    <a:pt x="494" y="174"/>
                    <a:pt x="476" y="154"/>
                  </a:cubicBezTo>
                  <a:cubicBezTo>
                    <a:pt x="452" y="138"/>
                    <a:pt x="451" y="162"/>
                    <a:pt x="434" y="171"/>
                  </a:cubicBezTo>
                  <a:cubicBezTo>
                    <a:pt x="404" y="164"/>
                    <a:pt x="476" y="146"/>
                    <a:pt x="411" y="119"/>
                  </a:cubicBezTo>
                  <a:cubicBezTo>
                    <a:pt x="395" y="159"/>
                    <a:pt x="396" y="130"/>
                    <a:pt x="389" y="124"/>
                  </a:cubicBezTo>
                  <a:cubicBezTo>
                    <a:pt x="384" y="121"/>
                    <a:pt x="375" y="131"/>
                    <a:pt x="356" y="150"/>
                  </a:cubicBezTo>
                  <a:cubicBezTo>
                    <a:pt x="366" y="124"/>
                    <a:pt x="388" y="92"/>
                    <a:pt x="356" y="101"/>
                  </a:cubicBezTo>
                  <a:cubicBezTo>
                    <a:pt x="320" y="117"/>
                    <a:pt x="341" y="96"/>
                    <a:pt x="341" y="93"/>
                  </a:cubicBezTo>
                  <a:cubicBezTo>
                    <a:pt x="372" y="79"/>
                    <a:pt x="312" y="45"/>
                    <a:pt x="314" y="81"/>
                  </a:cubicBezTo>
                  <a:cubicBezTo>
                    <a:pt x="313" y="105"/>
                    <a:pt x="261" y="126"/>
                    <a:pt x="276" y="97"/>
                  </a:cubicBezTo>
                  <a:cubicBezTo>
                    <a:pt x="286" y="60"/>
                    <a:pt x="331" y="116"/>
                    <a:pt x="292" y="51"/>
                  </a:cubicBezTo>
                  <a:cubicBezTo>
                    <a:pt x="268" y="78"/>
                    <a:pt x="248" y="96"/>
                    <a:pt x="244" y="106"/>
                  </a:cubicBezTo>
                  <a:cubicBezTo>
                    <a:pt x="225" y="181"/>
                    <a:pt x="236" y="113"/>
                    <a:pt x="216" y="112"/>
                  </a:cubicBezTo>
                  <a:cubicBezTo>
                    <a:pt x="242" y="94"/>
                    <a:pt x="276" y="63"/>
                    <a:pt x="266" y="43"/>
                  </a:cubicBezTo>
                  <a:cubicBezTo>
                    <a:pt x="237" y="41"/>
                    <a:pt x="172" y="87"/>
                    <a:pt x="214" y="91"/>
                  </a:cubicBezTo>
                  <a:cubicBezTo>
                    <a:pt x="211" y="106"/>
                    <a:pt x="187" y="123"/>
                    <a:pt x="173" y="98"/>
                  </a:cubicBezTo>
                  <a:cubicBezTo>
                    <a:pt x="196" y="92"/>
                    <a:pt x="235" y="15"/>
                    <a:pt x="186" y="38"/>
                  </a:cubicBezTo>
                  <a:cubicBezTo>
                    <a:pt x="181" y="42"/>
                    <a:pt x="181" y="56"/>
                    <a:pt x="173" y="69"/>
                  </a:cubicBezTo>
                  <a:cubicBezTo>
                    <a:pt x="161" y="58"/>
                    <a:pt x="170" y="42"/>
                    <a:pt x="166" y="36"/>
                  </a:cubicBezTo>
                  <a:cubicBezTo>
                    <a:pt x="127" y="0"/>
                    <a:pt x="141" y="93"/>
                    <a:pt x="142" y="114"/>
                  </a:cubicBezTo>
                  <a:cubicBezTo>
                    <a:pt x="92" y="82"/>
                    <a:pt x="139" y="91"/>
                    <a:pt x="126" y="39"/>
                  </a:cubicBezTo>
                  <a:cubicBezTo>
                    <a:pt x="84" y="47"/>
                    <a:pt x="73" y="64"/>
                    <a:pt x="80" y="112"/>
                  </a:cubicBezTo>
                  <a:cubicBezTo>
                    <a:pt x="74" y="123"/>
                    <a:pt x="63" y="149"/>
                    <a:pt x="56" y="117"/>
                  </a:cubicBezTo>
                  <a:cubicBezTo>
                    <a:pt x="79" y="87"/>
                    <a:pt x="77" y="44"/>
                    <a:pt x="37" y="43"/>
                  </a:cubicBezTo>
                  <a:cubicBezTo>
                    <a:pt x="101" y="631"/>
                    <a:pt x="97" y="1225"/>
                    <a:pt x="5" y="1808"/>
                  </a:cubicBezTo>
                  <a:lnTo>
                    <a:pt x="0" y="1840"/>
                  </a:lnTo>
                  <a:cubicBezTo>
                    <a:pt x="46" y="1839"/>
                    <a:pt x="113" y="1825"/>
                    <a:pt x="162" y="1823"/>
                  </a:cubicBezTo>
                  <a:cubicBezTo>
                    <a:pt x="301" y="1827"/>
                    <a:pt x="298" y="1845"/>
                    <a:pt x="529" y="1842"/>
                  </a:cubicBezTo>
                  <a:cubicBezTo>
                    <a:pt x="582" y="1837"/>
                    <a:pt x="597" y="1829"/>
                    <a:pt x="614" y="1829"/>
                  </a:cubicBezTo>
                  <a:cubicBezTo>
                    <a:pt x="597" y="1758"/>
                    <a:pt x="481" y="1798"/>
                    <a:pt x="421" y="1778"/>
                  </a:cubicBezTo>
                  <a:cubicBezTo>
                    <a:pt x="321" y="1768"/>
                    <a:pt x="304" y="1708"/>
                    <a:pt x="272" y="1664"/>
                  </a:cubicBezTo>
                  <a:cubicBezTo>
                    <a:pt x="258" y="1639"/>
                    <a:pt x="237" y="1608"/>
                    <a:pt x="237" y="1566"/>
                  </a:cubicBezTo>
                  <a:cubicBezTo>
                    <a:pt x="230" y="1513"/>
                    <a:pt x="240" y="1484"/>
                    <a:pt x="239" y="1432"/>
                  </a:cubicBezTo>
                  <a:cubicBezTo>
                    <a:pt x="243" y="1393"/>
                    <a:pt x="287" y="1401"/>
                    <a:pt x="315" y="1404"/>
                  </a:cubicBezTo>
                  <a:cubicBezTo>
                    <a:pt x="402" y="1413"/>
                    <a:pt x="547" y="1399"/>
                    <a:pt x="586" y="1387"/>
                  </a:cubicBezTo>
                  <a:cubicBezTo>
                    <a:pt x="641" y="1371"/>
                    <a:pt x="642" y="1337"/>
                    <a:pt x="605" y="1286"/>
                  </a:cubicBezTo>
                  <a:cubicBezTo>
                    <a:pt x="597" y="1261"/>
                    <a:pt x="598" y="1245"/>
                    <a:pt x="609" y="1223"/>
                  </a:cubicBezTo>
                  <a:cubicBezTo>
                    <a:pt x="625" y="1206"/>
                    <a:pt x="644" y="1195"/>
                    <a:pt x="630" y="1174"/>
                  </a:cubicBezTo>
                  <a:cubicBezTo>
                    <a:pt x="630" y="1174"/>
                    <a:pt x="504" y="1147"/>
                    <a:pt x="590" y="1133"/>
                  </a:cubicBezTo>
                  <a:cubicBezTo>
                    <a:pt x="679" y="1118"/>
                    <a:pt x="650" y="1082"/>
                    <a:pt x="650" y="1082"/>
                  </a:cubicBezTo>
                  <a:cubicBezTo>
                    <a:pt x="650" y="1082"/>
                    <a:pt x="635" y="1045"/>
                    <a:pt x="621" y="1018"/>
                  </a:cubicBezTo>
                  <a:cubicBezTo>
                    <a:pt x="611" y="998"/>
                    <a:pt x="695" y="991"/>
                    <a:pt x="704" y="959"/>
                  </a:cubicBezTo>
                  <a:cubicBezTo>
                    <a:pt x="724" y="932"/>
                    <a:pt x="661" y="871"/>
                    <a:pt x="639" y="841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1F497D"/>
                </a:solidFill>
              </a:endParaRPr>
            </a:p>
          </p:txBody>
        </p:sp>
        <p:sp>
          <p:nvSpPr>
            <p:cNvPr id="218128" name="Freeform 16"/>
            <p:cNvSpPr>
              <a:spLocks noChangeAspect="1"/>
            </p:cNvSpPr>
            <p:nvPr/>
          </p:nvSpPr>
          <p:spPr bwMode="auto">
            <a:xfrm>
              <a:off x="1352" y="681"/>
              <a:ext cx="1829" cy="3153"/>
            </a:xfrm>
            <a:custGeom>
              <a:avLst/>
              <a:gdLst/>
              <a:ahLst/>
              <a:cxnLst>
                <a:cxn ang="0">
                  <a:pos x="1974" y="2106"/>
                </a:cxn>
                <a:cxn ang="0">
                  <a:pos x="0" y="3449"/>
                </a:cxn>
                <a:cxn ang="0">
                  <a:pos x="1972" y="0"/>
                </a:cxn>
                <a:cxn ang="0">
                  <a:pos x="1980" y="347"/>
                </a:cxn>
                <a:cxn ang="0">
                  <a:pos x="1982" y="392"/>
                </a:cxn>
                <a:cxn ang="0">
                  <a:pos x="1923" y="324"/>
                </a:cxn>
                <a:cxn ang="0">
                  <a:pos x="1878" y="384"/>
                </a:cxn>
                <a:cxn ang="0">
                  <a:pos x="1858" y="411"/>
                </a:cxn>
                <a:cxn ang="0">
                  <a:pos x="1823" y="348"/>
                </a:cxn>
                <a:cxn ang="0">
                  <a:pos x="1766" y="359"/>
                </a:cxn>
                <a:cxn ang="0">
                  <a:pos x="1702" y="494"/>
                </a:cxn>
                <a:cxn ang="0">
                  <a:pos x="1680" y="420"/>
                </a:cxn>
                <a:cxn ang="0">
                  <a:pos x="1605" y="427"/>
                </a:cxn>
                <a:cxn ang="0">
                  <a:pos x="1609" y="499"/>
                </a:cxn>
                <a:cxn ang="0">
                  <a:pos x="1520" y="498"/>
                </a:cxn>
                <a:cxn ang="0">
                  <a:pos x="1513" y="560"/>
                </a:cxn>
                <a:cxn ang="0">
                  <a:pos x="1407" y="521"/>
                </a:cxn>
                <a:cxn ang="0">
                  <a:pos x="1521" y="578"/>
                </a:cxn>
                <a:cxn ang="0">
                  <a:pos x="1453" y="612"/>
                </a:cxn>
                <a:cxn ang="0">
                  <a:pos x="1441" y="603"/>
                </a:cxn>
                <a:cxn ang="0">
                  <a:pos x="1404" y="640"/>
                </a:cxn>
                <a:cxn ang="0">
                  <a:pos x="1448" y="632"/>
                </a:cxn>
                <a:cxn ang="0">
                  <a:pos x="1433" y="703"/>
                </a:cxn>
                <a:cxn ang="0">
                  <a:pos x="1392" y="719"/>
                </a:cxn>
                <a:cxn ang="0">
                  <a:pos x="1410" y="785"/>
                </a:cxn>
                <a:cxn ang="0">
                  <a:pos x="1321" y="761"/>
                </a:cxn>
                <a:cxn ang="0">
                  <a:pos x="1255" y="760"/>
                </a:cxn>
                <a:cxn ang="0">
                  <a:pos x="1205" y="829"/>
                </a:cxn>
                <a:cxn ang="0">
                  <a:pos x="1350" y="845"/>
                </a:cxn>
                <a:cxn ang="0">
                  <a:pos x="1308" y="881"/>
                </a:cxn>
                <a:cxn ang="0">
                  <a:pos x="1308" y="953"/>
                </a:cxn>
                <a:cxn ang="0">
                  <a:pos x="1358" y="951"/>
                </a:cxn>
                <a:cxn ang="0">
                  <a:pos x="1319" y="1061"/>
                </a:cxn>
                <a:cxn ang="0">
                  <a:pos x="1324" y="1115"/>
                </a:cxn>
                <a:cxn ang="0">
                  <a:pos x="1283" y="1185"/>
                </a:cxn>
                <a:cxn ang="0">
                  <a:pos x="1257" y="1226"/>
                </a:cxn>
                <a:cxn ang="0">
                  <a:pos x="1285" y="1267"/>
                </a:cxn>
                <a:cxn ang="0">
                  <a:pos x="1314" y="1311"/>
                </a:cxn>
                <a:cxn ang="0">
                  <a:pos x="1363" y="1376"/>
                </a:cxn>
                <a:cxn ang="0">
                  <a:pos x="1438" y="1413"/>
                </a:cxn>
                <a:cxn ang="0">
                  <a:pos x="1494" y="1379"/>
                </a:cxn>
                <a:cxn ang="0">
                  <a:pos x="1513" y="1471"/>
                </a:cxn>
                <a:cxn ang="0">
                  <a:pos x="1605" y="1474"/>
                </a:cxn>
                <a:cxn ang="0">
                  <a:pos x="1584" y="1525"/>
                </a:cxn>
                <a:cxn ang="0">
                  <a:pos x="1618" y="1559"/>
                </a:cxn>
                <a:cxn ang="0">
                  <a:pos x="1644" y="1602"/>
                </a:cxn>
                <a:cxn ang="0">
                  <a:pos x="1700" y="1594"/>
                </a:cxn>
                <a:cxn ang="0">
                  <a:pos x="1729" y="1535"/>
                </a:cxn>
                <a:cxn ang="0">
                  <a:pos x="1794" y="1574"/>
                </a:cxn>
                <a:cxn ang="0">
                  <a:pos x="1808" y="1711"/>
                </a:cxn>
                <a:cxn ang="0">
                  <a:pos x="1870" y="1688"/>
                </a:cxn>
                <a:cxn ang="0">
                  <a:pos x="1839" y="1844"/>
                </a:cxn>
                <a:cxn ang="0">
                  <a:pos x="1446" y="2092"/>
                </a:cxn>
                <a:cxn ang="0">
                  <a:pos x="1654" y="2103"/>
                </a:cxn>
                <a:cxn ang="0">
                  <a:pos x="1974" y="2105"/>
                </a:cxn>
              </a:cxnLst>
              <a:rect l="0" t="0" r="r" b="b"/>
              <a:pathLst>
                <a:path w="2011" h="3449">
                  <a:moveTo>
                    <a:pt x="1974" y="2106"/>
                  </a:moveTo>
                  <a:lnTo>
                    <a:pt x="1974" y="2106"/>
                  </a:lnTo>
                  <a:cubicBezTo>
                    <a:pt x="1903" y="2543"/>
                    <a:pt x="1782" y="2987"/>
                    <a:pt x="1602" y="3449"/>
                  </a:cubicBezTo>
                  <a:lnTo>
                    <a:pt x="0" y="3449"/>
                  </a:lnTo>
                  <a:lnTo>
                    <a:pt x="0" y="0"/>
                  </a:lnTo>
                  <a:lnTo>
                    <a:pt x="1972" y="0"/>
                  </a:lnTo>
                  <a:cubicBezTo>
                    <a:pt x="1988" y="113"/>
                    <a:pt x="1999" y="197"/>
                    <a:pt x="2011" y="309"/>
                  </a:cubicBezTo>
                  <a:cubicBezTo>
                    <a:pt x="2011" y="309"/>
                    <a:pt x="1977" y="320"/>
                    <a:pt x="1980" y="347"/>
                  </a:cubicBezTo>
                  <a:cubicBezTo>
                    <a:pt x="1984" y="378"/>
                    <a:pt x="1997" y="385"/>
                    <a:pt x="1997" y="385"/>
                  </a:cubicBezTo>
                  <a:lnTo>
                    <a:pt x="1982" y="392"/>
                  </a:lnTo>
                  <a:cubicBezTo>
                    <a:pt x="1982" y="392"/>
                    <a:pt x="1966" y="368"/>
                    <a:pt x="1966" y="369"/>
                  </a:cubicBezTo>
                  <a:cubicBezTo>
                    <a:pt x="1966" y="346"/>
                    <a:pt x="1976" y="311"/>
                    <a:pt x="1923" y="324"/>
                  </a:cubicBezTo>
                  <a:cubicBezTo>
                    <a:pt x="1904" y="365"/>
                    <a:pt x="1952" y="373"/>
                    <a:pt x="1939" y="401"/>
                  </a:cubicBezTo>
                  <a:cubicBezTo>
                    <a:pt x="1883" y="404"/>
                    <a:pt x="1923" y="359"/>
                    <a:pt x="1878" y="384"/>
                  </a:cubicBezTo>
                  <a:cubicBezTo>
                    <a:pt x="1881" y="371"/>
                    <a:pt x="1871" y="336"/>
                    <a:pt x="1857" y="339"/>
                  </a:cubicBezTo>
                  <a:cubicBezTo>
                    <a:pt x="1851" y="358"/>
                    <a:pt x="1836" y="391"/>
                    <a:pt x="1858" y="411"/>
                  </a:cubicBezTo>
                  <a:cubicBezTo>
                    <a:pt x="1851" y="416"/>
                    <a:pt x="1830" y="413"/>
                    <a:pt x="1825" y="406"/>
                  </a:cubicBezTo>
                  <a:cubicBezTo>
                    <a:pt x="1819" y="396"/>
                    <a:pt x="1840" y="379"/>
                    <a:pt x="1823" y="348"/>
                  </a:cubicBezTo>
                  <a:cubicBezTo>
                    <a:pt x="1771" y="371"/>
                    <a:pt x="1819" y="421"/>
                    <a:pt x="1776" y="440"/>
                  </a:cubicBezTo>
                  <a:cubicBezTo>
                    <a:pt x="1729" y="434"/>
                    <a:pt x="1803" y="394"/>
                    <a:pt x="1766" y="359"/>
                  </a:cubicBezTo>
                  <a:cubicBezTo>
                    <a:pt x="1723" y="369"/>
                    <a:pt x="1707" y="413"/>
                    <a:pt x="1724" y="439"/>
                  </a:cubicBezTo>
                  <a:cubicBezTo>
                    <a:pt x="1723" y="462"/>
                    <a:pt x="1705" y="474"/>
                    <a:pt x="1702" y="494"/>
                  </a:cubicBezTo>
                  <a:cubicBezTo>
                    <a:pt x="1681" y="491"/>
                    <a:pt x="1672" y="483"/>
                    <a:pt x="1670" y="475"/>
                  </a:cubicBezTo>
                  <a:cubicBezTo>
                    <a:pt x="1667" y="460"/>
                    <a:pt x="1708" y="453"/>
                    <a:pt x="1680" y="420"/>
                  </a:cubicBezTo>
                  <a:cubicBezTo>
                    <a:pt x="1635" y="427"/>
                    <a:pt x="1665" y="500"/>
                    <a:pt x="1629" y="461"/>
                  </a:cubicBezTo>
                  <a:cubicBezTo>
                    <a:pt x="1626" y="444"/>
                    <a:pt x="1614" y="429"/>
                    <a:pt x="1605" y="427"/>
                  </a:cubicBezTo>
                  <a:cubicBezTo>
                    <a:pt x="1588" y="439"/>
                    <a:pt x="1580" y="459"/>
                    <a:pt x="1591" y="476"/>
                  </a:cubicBezTo>
                  <a:lnTo>
                    <a:pt x="1609" y="499"/>
                  </a:lnTo>
                  <a:cubicBezTo>
                    <a:pt x="1607" y="499"/>
                    <a:pt x="1617" y="513"/>
                    <a:pt x="1615" y="512"/>
                  </a:cubicBezTo>
                  <a:cubicBezTo>
                    <a:pt x="1585" y="488"/>
                    <a:pt x="1545" y="471"/>
                    <a:pt x="1520" y="498"/>
                  </a:cubicBezTo>
                  <a:cubicBezTo>
                    <a:pt x="1523" y="523"/>
                    <a:pt x="1545" y="525"/>
                    <a:pt x="1579" y="533"/>
                  </a:cubicBezTo>
                  <a:cubicBezTo>
                    <a:pt x="1536" y="537"/>
                    <a:pt x="1527" y="552"/>
                    <a:pt x="1513" y="560"/>
                  </a:cubicBezTo>
                  <a:cubicBezTo>
                    <a:pt x="1508" y="532"/>
                    <a:pt x="1475" y="527"/>
                    <a:pt x="1444" y="523"/>
                  </a:cubicBezTo>
                  <a:cubicBezTo>
                    <a:pt x="1426" y="527"/>
                    <a:pt x="1415" y="515"/>
                    <a:pt x="1407" y="521"/>
                  </a:cubicBezTo>
                  <a:cubicBezTo>
                    <a:pt x="1420" y="553"/>
                    <a:pt x="1451" y="578"/>
                    <a:pt x="1490" y="586"/>
                  </a:cubicBezTo>
                  <a:cubicBezTo>
                    <a:pt x="1507" y="584"/>
                    <a:pt x="1509" y="584"/>
                    <a:pt x="1521" y="578"/>
                  </a:cubicBezTo>
                  <a:cubicBezTo>
                    <a:pt x="1544" y="588"/>
                    <a:pt x="1542" y="592"/>
                    <a:pt x="1548" y="608"/>
                  </a:cubicBezTo>
                  <a:cubicBezTo>
                    <a:pt x="1514" y="623"/>
                    <a:pt x="1487" y="604"/>
                    <a:pt x="1453" y="612"/>
                  </a:cubicBezTo>
                  <a:cubicBezTo>
                    <a:pt x="1453" y="614"/>
                    <a:pt x="1445" y="614"/>
                    <a:pt x="1444" y="611"/>
                  </a:cubicBezTo>
                  <a:cubicBezTo>
                    <a:pt x="1445" y="611"/>
                    <a:pt x="1440" y="603"/>
                    <a:pt x="1441" y="603"/>
                  </a:cubicBezTo>
                  <a:cubicBezTo>
                    <a:pt x="1426" y="575"/>
                    <a:pt x="1387" y="586"/>
                    <a:pt x="1366" y="592"/>
                  </a:cubicBezTo>
                  <a:cubicBezTo>
                    <a:pt x="1363" y="614"/>
                    <a:pt x="1386" y="632"/>
                    <a:pt x="1404" y="640"/>
                  </a:cubicBezTo>
                  <a:cubicBezTo>
                    <a:pt x="1429" y="649"/>
                    <a:pt x="1438" y="641"/>
                    <a:pt x="1438" y="641"/>
                  </a:cubicBezTo>
                  <a:lnTo>
                    <a:pt x="1448" y="632"/>
                  </a:lnTo>
                  <a:cubicBezTo>
                    <a:pt x="1459" y="672"/>
                    <a:pt x="1473" y="674"/>
                    <a:pt x="1494" y="690"/>
                  </a:cubicBezTo>
                  <a:cubicBezTo>
                    <a:pt x="1471" y="698"/>
                    <a:pt x="1462" y="705"/>
                    <a:pt x="1433" y="703"/>
                  </a:cubicBezTo>
                  <a:cubicBezTo>
                    <a:pt x="1400" y="652"/>
                    <a:pt x="1301" y="630"/>
                    <a:pt x="1305" y="654"/>
                  </a:cubicBezTo>
                  <a:cubicBezTo>
                    <a:pt x="1319" y="706"/>
                    <a:pt x="1392" y="719"/>
                    <a:pt x="1392" y="719"/>
                  </a:cubicBezTo>
                  <a:cubicBezTo>
                    <a:pt x="1392" y="719"/>
                    <a:pt x="1354" y="733"/>
                    <a:pt x="1360" y="746"/>
                  </a:cubicBezTo>
                  <a:cubicBezTo>
                    <a:pt x="1367" y="758"/>
                    <a:pt x="1417" y="766"/>
                    <a:pt x="1410" y="785"/>
                  </a:cubicBezTo>
                  <a:cubicBezTo>
                    <a:pt x="1358" y="762"/>
                    <a:pt x="1348" y="771"/>
                    <a:pt x="1383" y="817"/>
                  </a:cubicBezTo>
                  <a:cubicBezTo>
                    <a:pt x="1339" y="819"/>
                    <a:pt x="1349" y="772"/>
                    <a:pt x="1321" y="761"/>
                  </a:cubicBezTo>
                  <a:cubicBezTo>
                    <a:pt x="1301" y="775"/>
                    <a:pt x="1313" y="806"/>
                    <a:pt x="1313" y="806"/>
                  </a:cubicBezTo>
                  <a:cubicBezTo>
                    <a:pt x="1303" y="798"/>
                    <a:pt x="1277" y="754"/>
                    <a:pt x="1255" y="760"/>
                  </a:cubicBezTo>
                  <a:cubicBezTo>
                    <a:pt x="1248" y="765"/>
                    <a:pt x="1248" y="789"/>
                    <a:pt x="1265" y="805"/>
                  </a:cubicBezTo>
                  <a:cubicBezTo>
                    <a:pt x="1244" y="809"/>
                    <a:pt x="1210" y="806"/>
                    <a:pt x="1205" y="829"/>
                  </a:cubicBezTo>
                  <a:cubicBezTo>
                    <a:pt x="1239" y="855"/>
                    <a:pt x="1276" y="855"/>
                    <a:pt x="1329" y="849"/>
                  </a:cubicBezTo>
                  <a:cubicBezTo>
                    <a:pt x="1329" y="849"/>
                    <a:pt x="1339" y="848"/>
                    <a:pt x="1350" y="845"/>
                  </a:cubicBezTo>
                  <a:cubicBezTo>
                    <a:pt x="1360" y="842"/>
                    <a:pt x="1375" y="856"/>
                    <a:pt x="1375" y="856"/>
                  </a:cubicBezTo>
                  <a:cubicBezTo>
                    <a:pt x="1349" y="862"/>
                    <a:pt x="1360" y="870"/>
                    <a:pt x="1308" y="881"/>
                  </a:cubicBezTo>
                  <a:cubicBezTo>
                    <a:pt x="1274" y="897"/>
                    <a:pt x="1247" y="918"/>
                    <a:pt x="1247" y="953"/>
                  </a:cubicBezTo>
                  <a:cubicBezTo>
                    <a:pt x="1268" y="963"/>
                    <a:pt x="1294" y="973"/>
                    <a:pt x="1308" y="953"/>
                  </a:cubicBezTo>
                  <a:cubicBezTo>
                    <a:pt x="1331" y="920"/>
                    <a:pt x="1324" y="946"/>
                    <a:pt x="1340" y="945"/>
                  </a:cubicBezTo>
                  <a:lnTo>
                    <a:pt x="1358" y="951"/>
                  </a:lnTo>
                  <a:cubicBezTo>
                    <a:pt x="1344" y="986"/>
                    <a:pt x="1264" y="985"/>
                    <a:pt x="1279" y="1011"/>
                  </a:cubicBezTo>
                  <a:cubicBezTo>
                    <a:pt x="1295" y="1035"/>
                    <a:pt x="1319" y="1061"/>
                    <a:pt x="1319" y="1061"/>
                  </a:cubicBezTo>
                  <a:cubicBezTo>
                    <a:pt x="1319" y="1061"/>
                    <a:pt x="1263" y="1032"/>
                    <a:pt x="1247" y="1053"/>
                  </a:cubicBezTo>
                  <a:cubicBezTo>
                    <a:pt x="1232" y="1071"/>
                    <a:pt x="1265" y="1102"/>
                    <a:pt x="1324" y="1115"/>
                  </a:cubicBezTo>
                  <a:cubicBezTo>
                    <a:pt x="1304" y="1128"/>
                    <a:pt x="1233" y="1115"/>
                    <a:pt x="1276" y="1160"/>
                  </a:cubicBezTo>
                  <a:cubicBezTo>
                    <a:pt x="1225" y="1181"/>
                    <a:pt x="1242" y="1196"/>
                    <a:pt x="1283" y="1185"/>
                  </a:cubicBezTo>
                  <a:lnTo>
                    <a:pt x="1303" y="1188"/>
                  </a:lnTo>
                  <a:cubicBezTo>
                    <a:pt x="1291" y="1196"/>
                    <a:pt x="1254" y="1213"/>
                    <a:pt x="1257" y="1226"/>
                  </a:cubicBezTo>
                  <a:cubicBezTo>
                    <a:pt x="1259" y="1243"/>
                    <a:pt x="1300" y="1222"/>
                    <a:pt x="1307" y="1235"/>
                  </a:cubicBezTo>
                  <a:cubicBezTo>
                    <a:pt x="1310" y="1254"/>
                    <a:pt x="1287" y="1262"/>
                    <a:pt x="1285" y="1267"/>
                  </a:cubicBezTo>
                  <a:cubicBezTo>
                    <a:pt x="1314" y="1286"/>
                    <a:pt x="1331" y="1241"/>
                    <a:pt x="1358" y="1267"/>
                  </a:cubicBezTo>
                  <a:cubicBezTo>
                    <a:pt x="1348" y="1286"/>
                    <a:pt x="1305" y="1282"/>
                    <a:pt x="1314" y="1311"/>
                  </a:cubicBezTo>
                  <a:cubicBezTo>
                    <a:pt x="1330" y="1323"/>
                    <a:pt x="1357" y="1318"/>
                    <a:pt x="1373" y="1329"/>
                  </a:cubicBezTo>
                  <a:cubicBezTo>
                    <a:pt x="1373" y="1329"/>
                    <a:pt x="1351" y="1371"/>
                    <a:pt x="1363" y="1376"/>
                  </a:cubicBezTo>
                  <a:cubicBezTo>
                    <a:pt x="1386" y="1388"/>
                    <a:pt x="1408" y="1351"/>
                    <a:pt x="1416" y="1349"/>
                  </a:cubicBezTo>
                  <a:cubicBezTo>
                    <a:pt x="1410" y="1396"/>
                    <a:pt x="1450" y="1380"/>
                    <a:pt x="1438" y="1413"/>
                  </a:cubicBezTo>
                  <a:cubicBezTo>
                    <a:pt x="1438" y="1430"/>
                    <a:pt x="1436" y="1454"/>
                    <a:pt x="1454" y="1463"/>
                  </a:cubicBezTo>
                  <a:cubicBezTo>
                    <a:pt x="1491" y="1452"/>
                    <a:pt x="1495" y="1423"/>
                    <a:pt x="1494" y="1379"/>
                  </a:cubicBezTo>
                  <a:cubicBezTo>
                    <a:pt x="1494" y="1364"/>
                    <a:pt x="1537" y="1389"/>
                    <a:pt x="1537" y="1389"/>
                  </a:cubicBezTo>
                  <a:cubicBezTo>
                    <a:pt x="1563" y="1410"/>
                    <a:pt x="1492" y="1426"/>
                    <a:pt x="1513" y="1471"/>
                  </a:cubicBezTo>
                  <a:cubicBezTo>
                    <a:pt x="1573" y="1479"/>
                    <a:pt x="1573" y="1428"/>
                    <a:pt x="1621" y="1419"/>
                  </a:cubicBezTo>
                  <a:cubicBezTo>
                    <a:pt x="1643" y="1433"/>
                    <a:pt x="1612" y="1457"/>
                    <a:pt x="1605" y="1474"/>
                  </a:cubicBezTo>
                  <a:cubicBezTo>
                    <a:pt x="1575" y="1491"/>
                    <a:pt x="1538" y="1471"/>
                    <a:pt x="1509" y="1530"/>
                  </a:cubicBezTo>
                  <a:cubicBezTo>
                    <a:pt x="1551" y="1546"/>
                    <a:pt x="1570" y="1533"/>
                    <a:pt x="1584" y="1525"/>
                  </a:cubicBezTo>
                  <a:cubicBezTo>
                    <a:pt x="1597" y="1516"/>
                    <a:pt x="1596" y="1511"/>
                    <a:pt x="1606" y="1507"/>
                  </a:cubicBezTo>
                  <a:cubicBezTo>
                    <a:pt x="1607" y="1523"/>
                    <a:pt x="1603" y="1553"/>
                    <a:pt x="1618" y="1559"/>
                  </a:cubicBezTo>
                  <a:cubicBezTo>
                    <a:pt x="1632" y="1558"/>
                    <a:pt x="1633" y="1553"/>
                    <a:pt x="1645" y="1546"/>
                  </a:cubicBezTo>
                  <a:cubicBezTo>
                    <a:pt x="1657" y="1558"/>
                    <a:pt x="1626" y="1589"/>
                    <a:pt x="1644" y="1602"/>
                  </a:cubicBezTo>
                  <a:cubicBezTo>
                    <a:pt x="1661" y="1599"/>
                    <a:pt x="1667" y="1583"/>
                    <a:pt x="1667" y="1583"/>
                  </a:cubicBezTo>
                  <a:cubicBezTo>
                    <a:pt x="1677" y="1597"/>
                    <a:pt x="1689" y="1597"/>
                    <a:pt x="1700" y="1594"/>
                  </a:cubicBezTo>
                  <a:cubicBezTo>
                    <a:pt x="1706" y="1579"/>
                    <a:pt x="1707" y="1545"/>
                    <a:pt x="1688" y="1533"/>
                  </a:cubicBezTo>
                  <a:cubicBezTo>
                    <a:pt x="1697" y="1522"/>
                    <a:pt x="1720" y="1543"/>
                    <a:pt x="1729" y="1535"/>
                  </a:cubicBezTo>
                  <a:cubicBezTo>
                    <a:pt x="1748" y="1557"/>
                    <a:pt x="1707" y="1600"/>
                    <a:pt x="1737" y="1618"/>
                  </a:cubicBezTo>
                  <a:cubicBezTo>
                    <a:pt x="1766" y="1615"/>
                    <a:pt x="1765" y="1586"/>
                    <a:pt x="1794" y="1574"/>
                  </a:cubicBezTo>
                  <a:cubicBezTo>
                    <a:pt x="1789" y="1604"/>
                    <a:pt x="1824" y="1626"/>
                    <a:pt x="1779" y="1648"/>
                  </a:cubicBezTo>
                  <a:cubicBezTo>
                    <a:pt x="1779" y="1677"/>
                    <a:pt x="1834" y="1669"/>
                    <a:pt x="1808" y="1711"/>
                  </a:cubicBezTo>
                  <a:cubicBezTo>
                    <a:pt x="1818" y="1728"/>
                    <a:pt x="1831" y="1721"/>
                    <a:pt x="1843" y="1718"/>
                  </a:cubicBezTo>
                  <a:lnTo>
                    <a:pt x="1870" y="1688"/>
                  </a:lnTo>
                  <a:cubicBezTo>
                    <a:pt x="1862" y="1712"/>
                    <a:pt x="1860" y="1750"/>
                    <a:pt x="1867" y="1777"/>
                  </a:cubicBezTo>
                  <a:cubicBezTo>
                    <a:pt x="1858" y="1800"/>
                    <a:pt x="1879" y="1825"/>
                    <a:pt x="1839" y="1844"/>
                  </a:cubicBezTo>
                  <a:cubicBezTo>
                    <a:pt x="1828" y="1900"/>
                    <a:pt x="1827" y="1956"/>
                    <a:pt x="1763" y="1992"/>
                  </a:cubicBezTo>
                  <a:cubicBezTo>
                    <a:pt x="1726" y="2060"/>
                    <a:pt x="1497" y="2024"/>
                    <a:pt x="1446" y="2092"/>
                  </a:cubicBezTo>
                  <a:cubicBezTo>
                    <a:pt x="1459" y="2104"/>
                    <a:pt x="1576" y="2100"/>
                    <a:pt x="1591" y="2096"/>
                  </a:cubicBezTo>
                  <a:cubicBezTo>
                    <a:pt x="1613" y="2085"/>
                    <a:pt x="1631" y="2104"/>
                    <a:pt x="1654" y="2103"/>
                  </a:cubicBezTo>
                  <a:cubicBezTo>
                    <a:pt x="1705" y="2103"/>
                    <a:pt x="1767" y="2086"/>
                    <a:pt x="1809" y="2103"/>
                  </a:cubicBezTo>
                  <a:cubicBezTo>
                    <a:pt x="1869" y="2103"/>
                    <a:pt x="1920" y="2105"/>
                    <a:pt x="1974" y="2105"/>
                  </a:cubicBezTo>
                  <a:lnTo>
                    <a:pt x="1974" y="2106"/>
                  </a:ln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1F497D"/>
                </a:solidFill>
              </a:endParaRPr>
            </a:p>
          </p:txBody>
        </p:sp>
        <p:sp>
          <p:nvSpPr>
            <p:cNvPr id="218129" name="Freeform 17"/>
            <p:cNvSpPr>
              <a:spLocks noChangeAspect="1" noEditPoints="1"/>
            </p:cNvSpPr>
            <p:nvPr/>
          </p:nvSpPr>
          <p:spPr bwMode="auto">
            <a:xfrm>
              <a:off x="3235" y="2758"/>
              <a:ext cx="581" cy="570"/>
            </a:xfrm>
            <a:custGeom>
              <a:avLst/>
              <a:gdLst/>
              <a:ahLst/>
              <a:cxnLst>
                <a:cxn ang="0">
                  <a:pos x="321" y="621"/>
                </a:cxn>
                <a:cxn ang="0">
                  <a:pos x="321" y="621"/>
                </a:cxn>
                <a:cxn ang="0">
                  <a:pos x="639" y="307"/>
                </a:cxn>
                <a:cxn ang="0">
                  <a:pos x="321" y="0"/>
                </a:cxn>
                <a:cxn ang="0">
                  <a:pos x="0" y="307"/>
                </a:cxn>
                <a:cxn ang="0">
                  <a:pos x="321" y="621"/>
                </a:cxn>
                <a:cxn ang="0">
                  <a:pos x="321" y="621"/>
                </a:cxn>
                <a:cxn ang="0">
                  <a:pos x="162" y="307"/>
                </a:cxn>
                <a:cxn ang="0">
                  <a:pos x="162" y="307"/>
                </a:cxn>
                <a:cxn ang="0">
                  <a:pos x="321" y="125"/>
                </a:cxn>
                <a:cxn ang="0">
                  <a:pos x="477" y="307"/>
                </a:cxn>
                <a:cxn ang="0">
                  <a:pos x="321" y="495"/>
                </a:cxn>
                <a:cxn ang="0">
                  <a:pos x="162" y="307"/>
                </a:cxn>
              </a:cxnLst>
              <a:rect l="0" t="0" r="r" b="b"/>
              <a:pathLst>
                <a:path w="639" h="621">
                  <a:moveTo>
                    <a:pt x="321" y="621"/>
                  </a:moveTo>
                  <a:lnTo>
                    <a:pt x="321" y="621"/>
                  </a:lnTo>
                  <a:cubicBezTo>
                    <a:pt x="512" y="621"/>
                    <a:pt x="639" y="480"/>
                    <a:pt x="639" y="307"/>
                  </a:cubicBezTo>
                  <a:cubicBezTo>
                    <a:pt x="639" y="124"/>
                    <a:pt x="511" y="0"/>
                    <a:pt x="321" y="0"/>
                  </a:cubicBezTo>
                  <a:cubicBezTo>
                    <a:pt x="130" y="0"/>
                    <a:pt x="0" y="121"/>
                    <a:pt x="0" y="307"/>
                  </a:cubicBezTo>
                  <a:cubicBezTo>
                    <a:pt x="0" y="489"/>
                    <a:pt x="132" y="621"/>
                    <a:pt x="321" y="621"/>
                  </a:cubicBezTo>
                  <a:lnTo>
                    <a:pt x="321" y="621"/>
                  </a:lnTo>
                  <a:close/>
                  <a:moveTo>
                    <a:pt x="162" y="307"/>
                  </a:moveTo>
                  <a:lnTo>
                    <a:pt x="162" y="307"/>
                  </a:lnTo>
                  <a:cubicBezTo>
                    <a:pt x="162" y="198"/>
                    <a:pt x="214" y="125"/>
                    <a:pt x="321" y="125"/>
                  </a:cubicBezTo>
                  <a:cubicBezTo>
                    <a:pt x="425" y="125"/>
                    <a:pt x="477" y="192"/>
                    <a:pt x="477" y="307"/>
                  </a:cubicBezTo>
                  <a:cubicBezTo>
                    <a:pt x="477" y="413"/>
                    <a:pt x="426" y="495"/>
                    <a:pt x="321" y="495"/>
                  </a:cubicBezTo>
                  <a:cubicBezTo>
                    <a:pt x="220" y="495"/>
                    <a:pt x="162" y="415"/>
                    <a:pt x="162" y="307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1F497D"/>
                </a:solidFill>
              </a:endParaRPr>
            </a:p>
          </p:txBody>
        </p:sp>
        <p:sp>
          <p:nvSpPr>
            <p:cNvPr id="218130" name="Freeform 18"/>
            <p:cNvSpPr>
              <a:spLocks noChangeAspect="1"/>
            </p:cNvSpPr>
            <p:nvPr/>
          </p:nvSpPr>
          <p:spPr bwMode="auto">
            <a:xfrm>
              <a:off x="3892" y="2758"/>
              <a:ext cx="409" cy="570"/>
            </a:xfrm>
            <a:custGeom>
              <a:avLst/>
              <a:gdLst/>
              <a:ahLst/>
              <a:cxnLst>
                <a:cxn ang="0">
                  <a:pos x="377" y="128"/>
                </a:cxn>
                <a:cxn ang="0">
                  <a:pos x="377" y="128"/>
                </a:cxn>
                <a:cxn ang="0">
                  <a:pos x="270" y="114"/>
                </a:cxn>
                <a:cxn ang="0">
                  <a:pos x="163" y="160"/>
                </a:cxn>
                <a:cxn ang="0">
                  <a:pos x="290" y="260"/>
                </a:cxn>
                <a:cxn ang="0">
                  <a:pos x="441" y="443"/>
                </a:cxn>
                <a:cxn ang="0">
                  <a:pos x="187" y="621"/>
                </a:cxn>
                <a:cxn ang="0">
                  <a:pos x="11" y="594"/>
                </a:cxn>
                <a:cxn ang="0">
                  <a:pos x="11" y="469"/>
                </a:cxn>
                <a:cxn ang="0">
                  <a:pos x="193" y="506"/>
                </a:cxn>
                <a:cxn ang="0">
                  <a:pos x="279" y="448"/>
                </a:cxn>
                <a:cxn ang="0">
                  <a:pos x="153" y="349"/>
                </a:cxn>
                <a:cxn ang="0">
                  <a:pos x="0" y="160"/>
                </a:cxn>
                <a:cxn ang="0">
                  <a:pos x="243" y="0"/>
                </a:cxn>
                <a:cxn ang="0">
                  <a:pos x="377" y="10"/>
                </a:cxn>
                <a:cxn ang="0">
                  <a:pos x="377" y="128"/>
                </a:cxn>
              </a:cxnLst>
              <a:rect l="0" t="0" r="r" b="b"/>
              <a:pathLst>
                <a:path w="441" h="621">
                  <a:moveTo>
                    <a:pt x="377" y="128"/>
                  </a:moveTo>
                  <a:lnTo>
                    <a:pt x="377" y="128"/>
                  </a:lnTo>
                  <a:cubicBezTo>
                    <a:pt x="341" y="122"/>
                    <a:pt x="306" y="114"/>
                    <a:pt x="270" y="114"/>
                  </a:cubicBezTo>
                  <a:cubicBezTo>
                    <a:pt x="207" y="114"/>
                    <a:pt x="163" y="129"/>
                    <a:pt x="163" y="160"/>
                  </a:cubicBezTo>
                  <a:cubicBezTo>
                    <a:pt x="163" y="195"/>
                    <a:pt x="223" y="224"/>
                    <a:pt x="290" y="260"/>
                  </a:cubicBezTo>
                  <a:cubicBezTo>
                    <a:pt x="353" y="294"/>
                    <a:pt x="441" y="340"/>
                    <a:pt x="441" y="443"/>
                  </a:cubicBezTo>
                  <a:cubicBezTo>
                    <a:pt x="441" y="557"/>
                    <a:pt x="340" y="621"/>
                    <a:pt x="187" y="621"/>
                  </a:cubicBezTo>
                  <a:cubicBezTo>
                    <a:pt x="117" y="621"/>
                    <a:pt x="69" y="607"/>
                    <a:pt x="11" y="594"/>
                  </a:cubicBezTo>
                  <a:lnTo>
                    <a:pt x="11" y="469"/>
                  </a:lnTo>
                  <a:cubicBezTo>
                    <a:pt x="56" y="482"/>
                    <a:pt x="128" y="506"/>
                    <a:pt x="193" y="506"/>
                  </a:cubicBezTo>
                  <a:cubicBezTo>
                    <a:pt x="236" y="506"/>
                    <a:pt x="279" y="487"/>
                    <a:pt x="279" y="448"/>
                  </a:cubicBezTo>
                  <a:cubicBezTo>
                    <a:pt x="279" y="412"/>
                    <a:pt x="227" y="391"/>
                    <a:pt x="153" y="349"/>
                  </a:cubicBezTo>
                  <a:cubicBezTo>
                    <a:pt x="86" y="316"/>
                    <a:pt x="0" y="247"/>
                    <a:pt x="0" y="160"/>
                  </a:cubicBezTo>
                  <a:cubicBezTo>
                    <a:pt x="0" y="57"/>
                    <a:pt x="104" y="0"/>
                    <a:pt x="243" y="0"/>
                  </a:cubicBezTo>
                  <a:cubicBezTo>
                    <a:pt x="288" y="0"/>
                    <a:pt x="333" y="4"/>
                    <a:pt x="377" y="10"/>
                  </a:cubicBezTo>
                  <a:lnTo>
                    <a:pt x="377" y="128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1F497D"/>
                </a:solidFill>
              </a:endParaRPr>
            </a:p>
          </p:txBody>
        </p:sp>
        <p:sp>
          <p:nvSpPr>
            <p:cNvPr id="218131" name="Freeform 19"/>
            <p:cNvSpPr>
              <a:spLocks noChangeAspect="1"/>
            </p:cNvSpPr>
            <p:nvPr/>
          </p:nvSpPr>
          <p:spPr bwMode="auto">
            <a:xfrm>
              <a:off x="1772" y="2564"/>
              <a:ext cx="215" cy="743"/>
            </a:xfrm>
            <a:custGeom>
              <a:avLst/>
              <a:gdLst/>
              <a:ahLst/>
              <a:cxnLst>
                <a:cxn ang="0">
                  <a:pos x="18" y="817"/>
                </a:cxn>
                <a:cxn ang="0">
                  <a:pos x="18" y="817"/>
                </a:cxn>
                <a:cxn ang="0">
                  <a:pos x="24" y="606"/>
                </a:cxn>
                <a:cxn ang="0">
                  <a:pos x="24" y="287"/>
                </a:cxn>
                <a:cxn ang="0">
                  <a:pos x="0" y="0"/>
                </a:cxn>
                <a:cxn ang="0">
                  <a:pos x="211" y="0"/>
                </a:cxn>
                <a:cxn ang="0">
                  <a:pos x="205" y="232"/>
                </a:cxn>
                <a:cxn ang="0">
                  <a:pos x="205" y="530"/>
                </a:cxn>
                <a:cxn ang="0">
                  <a:pos x="229" y="817"/>
                </a:cxn>
                <a:cxn ang="0">
                  <a:pos x="18" y="817"/>
                </a:cxn>
              </a:cxnLst>
              <a:rect l="0" t="0" r="r" b="b"/>
              <a:pathLst>
                <a:path w="229" h="817">
                  <a:moveTo>
                    <a:pt x="18" y="817"/>
                  </a:moveTo>
                  <a:lnTo>
                    <a:pt x="18" y="817"/>
                  </a:lnTo>
                  <a:cubicBezTo>
                    <a:pt x="22" y="750"/>
                    <a:pt x="24" y="699"/>
                    <a:pt x="24" y="606"/>
                  </a:cubicBezTo>
                  <a:lnTo>
                    <a:pt x="24" y="287"/>
                  </a:lnTo>
                  <a:cubicBezTo>
                    <a:pt x="24" y="172"/>
                    <a:pt x="17" y="85"/>
                    <a:pt x="0" y="0"/>
                  </a:cubicBezTo>
                  <a:lnTo>
                    <a:pt x="211" y="0"/>
                  </a:lnTo>
                  <a:cubicBezTo>
                    <a:pt x="211" y="59"/>
                    <a:pt x="205" y="140"/>
                    <a:pt x="205" y="232"/>
                  </a:cubicBezTo>
                  <a:lnTo>
                    <a:pt x="205" y="530"/>
                  </a:lnTo>
                  <a:cubicBezTo>
                    <a:pt x="205" y="614"/>
                    <a:pt x="218" y="739"/>
                    <a:pt x="229" y="817"/>
                  </a:cubicBezTo>
                  <a:lnTo>
                    <a:pt x="18" y="817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1F497D"/>
                </a:solidFill>
              </a:endParaRPr>
            </a:p>
          </p:txBody>
        </p:sp>
        <p:sp>
          <p:nvSpPr>
            <p:cNvPr id="218132" name="Freeform 20"/>
            <p:cNvSpPr>
              <a:spLocks noChangeAspect="1" noEditPoints="1"/>
            </p:cNvSpPr>
            <p:nvPr/>
          </p:nvSpPr>
          <p:spPr bwMode="auto">
            <a:xfrm>
              <a:off x="2095" y="2758"/>
              <a:ext cx="602" cy="785"/>
            </a:xfrm>
            <a:custGeom>
              <a:avLst/>
              <a:gdLst/>
              <a:ahLst/>
              <a:cxnLst>
                <a:cxn ang="0">
                  <a:pos x="210" y="851"/>
                </a:cxn>
                <a:cxn ang="0">
                  <a:pos x="210" y="851"/>
                </a:cxn>
                <a:cxn ang="0">
                  <a:pos x="198" y="632"/>
                </a:cxn>
                <a:cxn ang="0">
                  <a:pos x="198" y="564"/>
                </a:cxn>
                <a:cxn ang="0">
                  <a:pos x="385" y="621"/>
                </a:cxn>
                <a:cxn ang="0">
                  <a:pos x="662" y="322"/>
                </a:cxn>
                <a:cxn ang="0">
                  <a:pos x="378" y="0"/>
                </a:cxn>
                <a:cxn ang="0">
                  <a:pos x="174" y="98"/>
                </a:cxn>
                <a:cxn ang="0">
                  <a:pos x="153" y="15"/>
                </a:cxn>
                <a:cxn ang="0">
                  <a:pos x="0" y="26"/>
                </a:cxn>
                <a:cxn ang="0">
                  <a:pos x="36" y="323"/>
                </a:cxn>
                <a:cxn ang="0">
                  <a:pos x="36" y="564"/>
                </a:cxn>
                <a:cxn ang="0">
                  <a:pos x="12" y="863"/>
                </a:cxn>
                <a:cxn ang="0">
                  <a:pos x="210" y="851"/>
                </a:cxn>
                <a:cxn ang="0">
                  <a:pos x="210" y="851"/>
                </a:cxn>
                <a:cxn ang="0">
                  <a:pos x="186" y="323"/>
                </a:cxn>
                <a:cxn ang="0">
                  <a:pos x="186" y="323"/>
                </a:cxn>
                <a:cxn ang="0">
                  <a:pos x="338" y="125"/>
                </a:cxn>
                <a:cxn ang="0">
                  <a:pos x="500" y="323"/>
                </a:cxn>
                <a:cxn ang="0">
                  <a:pos x="345" y="495"/>
                </a:cxn>
                <a:cxn ang="0">
                  <a:pos x="186" y="323"/>
                </a:cxn>
              </a:cxnLst>
              <a:rect l="0" t="0" r="r" b="b"/>
              <a:pathLst>
                <a:path w="662" h="863">
                  <a:moveTo>
                    <a:pt x="210" y="851"/>
                  </a:moveTo>
                  <a:lnTo>
                    <a:pt x="210" y="851"/>
                  </a:lnTo>
                  <a:cubicBezTo>
                    <a:pt x="198" y="763"/>
                    <a:pt x="198" y="664"/>
                    <a:pt x="198" y="632"/>
                  </a:cubicBezTo>
                  <a:lnTo>
                    <a:pt x="198" y="564"/>
                  </a:lnTo>
                  <a:cubicBezTo>
                    <a:pt x="242" y="589"/>
                    <a:pt x="288" y="621"/>
                    <a:pt x="385" y="621"/>
                  </a:cubicBezTo>
                  <a:cubicBezTo>
                    <a:pt x="550" y="621"/>
                    <a:pt x="662" y="495"/>
                    <a:pt x="662" y="322"/>
                  </a:cubicBezTo>
                  <a:cubicBezTo>
                    <a:pt x="662" y="134"/>
                    <a:pt x="546" y="0"/>
                    <a:pt x="378" y="0"/>
                  </a:cubicBezTo>
                  <a:cubicBezTo>
                    <a:pt x="261" y="0"/>
                    <a:pt x="213" y="56"/>
                    <a:pt x="174" y="98"/>
                  </a:cubicBezTo>
                  <a:cubicBezTo>
                    <a:pt x="166" y="67"/>
                    <a:pt x="162" y="41"/>
                    <a:pt x="153" y="15"/>
                  </a:cubicBezTo>
                  <a:lnTo>
                    <a:pt x="0" y="26"/>
                  </a:lnTo>
                  <a:cubicBezTo>
                    <a:pt x="19" y="127"/>
                    <a:pt x="36" y="220"/>
                    <a:pt x="36" y="323"/>
                  </a:cubicBezTo>
                  <a:lnTo>
                    <a:pt x="36" y="564"/>
                  </a:lnTo>
                  <a:cubicBezTo>
                    <a:pt x="36" y="648"/>
                    <a:pt x="18" y="808"/>
                    <a:pt x="12" y="863"/>
                  </a:cubicBezTo>
                  <a:lnTo>
                    <a:pt x="210" y="851"/>
                  </a:lnTo>
                  <a:lnTo>
                    <a:pt x="210" y="851"/>
                  </a:lnTo>
                  <a:close/>
                  <a:moveTo>
                    <a:pt x="186" y="323"/>
                  </a:moveTo>
                  <a:lnTo>
                    <a:pt x="186" y="323"/>
                  </a:lnTo>
                  <a:cubicBezTo>
                    <a:pt x="186" y="206"/>
                    <a:pt x="236" y="125"/>
                    <a:pt x="338" y="125"/>
                  </a:cubicBezTo>
                  <a:cubicBezTo>
                    <a:pt x="433" y="125"/>
                    <a:pt x="500" y="207"/>
                    <a:pt x="500" y="323"/>
                  </a:cubicBezTo>
                  <a:cubicBezTo>
                    <a:pt x="500" y="426"/>
                    <a:pt x="448" y="495"/>
                    <a:pt x="345" y="495"/>
                  </a:cubicBezTo>
                  <a:cubicBezTo>
                    <a:pt x="244" y="495"/>
                    <a:pt x="186" y="437"/>
                    <a:pt x="186" y="323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1F497D"/>
                </a:solidFill>
              </a:endParaRPr>
            </a:p>
          </p:txBody>
        </p:sp>
        <p:sp>
          <p:nvSpPr>
            <p:cNvPr id="218133" name="Freeform 21"/>
            <p:cNvSpPr>
              <a:spLocks noChangeAspect="1"/>
            </p:cNvSpPr>
            <p:nvPr/>
          </p:nvSpPr>
          <p:spPr bwMode="auto">
            <a:xfrm>
              <a:off x="2773" y="2758"/>
              <a:ext cx="398" cy="570"/>
            </a:xfrm>
            <a:custGeom>
              <a:avLst/>
              <a:gdLst/>
              <a:ahLst/>
              <a:cxnLst>
                <a:cxn ang="0">
                  <a:pos x="364" y="126"/>
                </a:cxn>
                <a:cxn ang="0">
                  <a:pos x="364" y="126"/>
                </a:cxn>
                <a:cxn ang="0">
                  <a:pos x="270" y="114"/>
                </a:cxn>
                <a:cxn ang="0">
                  <a:pos x="162" y="160"/>
                </a:cxn>
                <a:cxn ang="0">
                  <a:pos x="289" y="260"/>
                </a:cxn>
                <a:cxn ang="0">
                  <a:pos x="440" y="443"/>
                </a:cxn>
                <a:cxn ang="0">
                  <a:pos x="186" y="621"/>
                </a:cxn>
                <a:cxn ang="0">
                  <a:pos x="11" y="594"/>
                </a:cxn>
                <a:cxn ang="0">
                  <a:pos x="11" y="469"/>
                </a:cxn>
                <a:cxn ang="0">
                  <a:pos x="192" y="506"/>
                </a:cxn>
                <a:cxn ang="0">
                  <a:pos x="278" y="448"/>
                </a:cxn>
                <a:cxn ang="0">
                  <a:pos x="152" y="349"/>
                </a:cxn>
                <a:cxn ang="0">
                  <a:pos x="0" y="160"/>
                </a:cxn>
                <a:cxn ang="0">
                  <a:pos x="242" y="0"/>
                </a:cxn>
                <a:cxn ang="0">
                  <a:pos x="387" y="12"/>
                </a:cxn>
                <a:cxn ang="0">
                  <a:pos x="364" y="126"/>
                </a:cxn>
              </a:cxnLst>
              <a:rect l="0" t="0" r="r" b="b"/>
              <a:pathLst>
                <a:path w="440" h="621">
                  <a:moveTo>
                    <a:pt x="364" y="126"/>
                  </a:moveTo>
                  <a:lnTo>
                    <a:pt x="364" y="126"/>
                  </a:lnTo>
                  <a:cubicBezTo>
                    <a:pt x="328" y="120"/>
                    <a:pt x="306" y="114"/>
                    <a:pt x="270" y="114"/>
                  </a:cubicBezTo>
                  <a:cubicBezTo>
                    <a:pt x="206" y="114"/>
                    <a:pt x="162" y="129"/>
                    <a:pt x="162" y="160"/>
                  </a:cubicBezTo>
                  <a:cubicBezTo>
                    <a:pt x="162" y="195"/>
                    <a:pt x="222" y="224"/>
                    <a:pt x="289" y="260"/>
                  </a:cubicBezTo>
                  <a:cubicBezTo>
                    <a:pt x="353" y="294"/>
                    <a:pt x="440" y="340"/>
                    <a:pt x="440" y="443"/>
                  </a:cubicBezTo>
                  <a:cubicBezTo>
                    <a:pt x="440" y="557"/>
                    <a:pt x="339" y="621"/>
                    <a:pt x="186" y="621"/>
                  </a:cubicBezTo>
                  <a:cubicBezTo>
                    <a:pt x="116" y="621"/>
                    <a:pt x="68" y="607"/>
                    <a:pt x="11" y="594"/>
                  </a:cubicBezTo>
                  <a:lnTo>
                    <a:pt x="11" y="469"/>
                  </a:lnTo>
                  <a:cubicBezTo>
                    <a:pt x="55" y="482"/>
                    <a:pt x="127" y="506"/>
                    <a:pt x="192" y="506"/>
                  </a:cubicBezTo>
                  <a:cubicBezTo>
                    <a:pt x="235" y="506"/>
                    <a:pt x="278" y="487"/>
                    <a:pt x="278" y="448"/>
                  </a:cubicBezTo>
                  <a:cubicBezTo>
                    <a:pt x="278" y="412"/>
                    <a:pt x="227" y="391"/>
                    <a:pt x="152" y="349"/>
                  </a:cubicBezTo>
                  <a:cubicBezTo>
                    <a:pt x="85" y="316"/>
                    <a:pt x="0" y="247"/>
                    <a:pt x="0" y="160"/>
                  </a:cubicBezTo>
                  <a:cubicBezTo>
                    <a:pt x="0" y="57"/>
                    <a:pt x="103" y="0"/>
                    <a:pt x="242" y="0"/>
                  </a:cubicBezTo>
                  <a:cubicBezTo>
                    <a:pt x="288" y="0"/>
                    <a:pt x="342" y="6"/>
                    <a:pt x="387" y="12"/>
                  </a:cubicBezTo>
                  <a:lnTo>
                    <a:pt x="364" y="126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1F497D"/>
                </a:solidFill>
              </a:endParaRPr>
            </a:p>
          </p:txBody>
        </p:sp>
      </p:grpSp>
      <p:cxnSp>
        <p:nvCxnSpPr>
          <p:cNvPr id="24" name="Straight Connector 23"/>
          <p:cNvCxnSpPr/>
          <p:nvPr userDrawn="1"/>
        </p:nvCxnSpPr>
        <p:spPr bwMode="auto">
          <a:xfrm>
            <a:off x="182872" y="880145"/>
            <a:ext cx="11824701" cy="0"/>
          </a:xfrm>
          <a:prstGeom prst="line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5" name="矩形 24"/>
          <p:cNvSpPr/>
          <p:nvPr userDrawn="1"/>
        </p:nvSpPr>
        <p:spPr bwMode="auto">
          <a:xfrm>
            <a:off x="10595707" y="6201309"/>
            <a:ext cx="936103" cy="65669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30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9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27" name="Picture 65" descr="Ipsos Marketing MUM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87611" y="6535370"/>
            <a:ext cx="1724209" cy="232708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047" r:id="rId1"/>
    <p:sldLayoutId id="2147484094" r:id="rId2"/>
    <p:sldLayoutId id="2147484101" r:id="rId3"/>
  </p:sldLayoutIdLst>
  <p:hf hdr="0" ft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Calibri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Calibri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Calibri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Calibri" pitchFamily="34" charset="0"/>
        </a:defRPr>
      </a:lvl5pPr>
      <a:lvl6pPr marL="457154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Calibri" pitchFamily="34" charset="0"/>
        </a:defRPr>
      </a:lvl6pPr>
      <a:lvl7pPr marL="914309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Calibri" pitchFamily="34" charset="0"/>
        </a:defRPr>
      </a:lvl7pPr>
      <a:lvl8pPr marL="1371463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Calibri" pitchFamily="34" charset="0"/>
        </a:defRPr>
      </a:lvl8pPr>
      <a:lvl9pPr marL="1828617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Calibri" pitchFamily="34" charset="0"/>
        </a:defRPr>
      </a:lvl9pPr>
    </p:titleStyle>
    <p:bodyStyle>
      <a:lvl1pPr marL="180957" indent="-180957" algn="l" rtl="0" fontAlgn="base">
        <a:lnSpc>
          <a:spcPct val="90000"/>
        </a:lnSpc>
        <a:spcBef>
          <a:spcPct val="5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630176" indent="-268261" algn="l" rtl="0" fontAlgn="base">
        <a:lnSpc>
          <a:spcPct val="90000"/>
        </a:lnSpc>
        <a:spcBef>
          <a:spcPct val="50000"/>
        </a:spcBef>
        <a:spcAft>
          <a:spcPct val="0"/>
        </a:spcAft>
        <a:buFont typeface="Wingdings" pitchFamily="2" charset="2"/>
        <a:buChar char="ð"/>
        <a:defRPr sz="1600">
          <a:solidFill>
            <a:schemeClr val="tx1"/>
          </a:solidFill>
          <a:latin typeface="+mn-lt"/>
        </a:defRPr>
      </a:lvl2pPr>
      <a:lvl3pPr marL="990501" indent="-180957" algn="l" rtl="0" fontAlgn="base">
        <a:lnSpc>
          <a:spcPct val="90000"/>
        </a:lnSpc>
        <a:spcBef>
          <a:spcPct val="50000"/>
        </a:spcBef>
        <a:spcAft>
          <a:spcPct val="0"/>
        </a:spcAft>
        <a:buFont typeface="Calibri" pitchFamily="34" charset="0"/>
        <a:buChar char="̶"/>
        <a:defRPr sz="1500">
          <a:solidFill>
            <a:schemeClr val="tx1"/>
          </a:solidFill>
          <a:latin typeface="+mn-lt"/>
        </a:defRPr>
      </a:lvl3pPr>
      <a:lvl4pPr marL="1442894" indent="-185720" algn="l" rtl="0" fontAlgn="base">
        <a:lnSpc>
          <a:spcPct val="90000"/>
        </a:lnSpc>
        <a:spcBef>
          <a:spcPct val="50000"/>
        </a:spcBef>
        <a:spcAft>
          <a:spcPct val="0"/>
        </a:spcAft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4pPr>
      <a:lvl5pPr marL="1796871" indent="-174608" algn="l" rtl="0" fontAlgn="base">
        <a:lnSpc>
          <a:spcPct val="90000"/>
        </a:lnSpc>
        <a:spcBef>
          <a:spcPct val="50000"/>
        </a:spcBef>
        <a:spcAft>
          <a:spcPct val="0"/>
        </a:spcAft>
        <a:buFont typeface="Wingdings" pitchFamily="2" charset="2"/>
        <a:buChar char="§"/>
        <a:defRPr sz="1100">
          <a:solidFill>
            <a:schemeClr val="tx1"/>
          </a:solidFill>
          <a:latin typeface="+mn-lt"/>
        </a:defRPr>
      </a:lvl5pPr>
      <a:lvl6pPr marL="2254025" indent="-174608" algn="l" rtl="0" fontAlgn="base">
        <a:lnSpc>
          <a:spcPct val="90000"/>
        </a:lnSpc>
        <a:spcBef>
          <a:spcPct val="50000"/>
        </a:spcBef>
        <a:spcAft>
          <a:spcPct val="0"/>
        </a:spcAft>
        <a:buFont typeface="Wingdings" pitchFamily="2" charset="2"/>
        <a:buChar char="§"/>
        <a:defRPr sz="1100">
          <a:solidFill>
            <a:schemeClr val="tx1"/>
          </a:solidFill>
          <a:latin typeface="+mn-lt"/>
        </a:defRPr>
      </a:lvl6pPr>
      <a:lvl7pPr marL="2711180" indent="-174608" algn="l" rtl="0" fontAlgn="base">
        <a:lnSpc>
          <a:spcPct val="90000"/>
        </a:lnSpc>
        <a:spcBef>
          <a:spcPct val="50000"/>
        </a:spcBef>
        <a:spcAft>
          <a:spcPct val="0"/>
        </a:spcAft>
        <a:buFont typeface="Wingdings" pitchFamily="2" charset="2"/>
        <a:buChar char="§"/>
        <a:defRPr sz="1100">
          <a:solidFill>
            <a:schemeClr val="tx1"/>
          </a:solidFill>
          <a:latin typeface="+mn-lt"/>
        </a:defRPr>
      </a:lvl7pPr>
      <a:lvl8pPr marL="3168334" indent="-174608" algn="l" rtl="0" fontAlgn="base">
        <a:lnSpc>
          <a:spcPct val="90000"/>
        </a:lnSpc>
        <a:spcBef>
          <a:spcPct val="50000"/>
        </a:spcBef>
        <a:spcAft>
          <a:spcPct val="0"/>
        </a:spcAft>
        <a:buFont typeface="Wingdings" pitchFamily="2" charset="2"/>
        <a:buChar char="§"/>
        <a:defRPr sz="1100">
          <a:solidFill>
            <a:schemeClr val="tx1"/>
          </a:solidFill>
          <a:latin typeface="+mn-lt"/>
        </a:defRPr>
      </a:lvl8pPr>
      <a:lvl9pPr marL="3625488" indent="-174608" algn="l" rtl="0" fontAlgn="base">
        <a:lnSpc>
          <a:spcPct val="90000"/>
        </a:lnSpc>
        <a:spcBef>
          <a:spcPct val="50000"/>
        </a:spcBef>
        <a:spcAft>
          <a:spcPct val="0"/>
        </a:spcAft>
        <a:buFont typeface="Wingdings" pitchFamily="2" charset="2"/>
        <a:buChar char="§"/>
        <a:defRPr sz="11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11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117456" y="87314"/>
            <a:ext cx="10876135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2181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9841" y="977901"/>
            <a:ext cx="10315290" cy="548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Textmasterformate durch Klicken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</p:txBody>
      </p:sp>
      <p:sp>
        <p:nvSpPr>
          <p:cNvPr id="218117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819313" y="6563797"/>
            <a:ext cx="182742" cy="184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buFontTx/>
              <a:buNone/>
              <a:defRPr sz="1200" b="1"/>
            </a:lvl1pPr>
          </a:lstStyle>
          <a:p>
            <a:fld id="{0FE30328-C834-48E7-B9C8-527F9A6C821A}" type="slidenum">
              <a:rPr lang="en-US">
                <a:solidFill>
                  <a:srgbClr val="1F497D"/>
                </a:solidFill>
              </a:rPr>
              <a:pPr/>
              <a:t>‹#›</a:t>
            </a:fld>
            <a:endParaRPr lang="en-US" dirty="0">
              <a:solidFill>
                <a:srgbClr val="1F497D"/>
              </a:solidFill>
            </a:endParaRPr>
          </a:p>
        </p:txBody>
      </p:sp>
      <p:grpSp>
        <p:nvGrpSpPr>
          <p:cNvPr id="2" name="Group 6"/>
          <p:cNvGrpSpPr>
            <a:grpSpLocks noChangeAspect="1"/>
          </p:cNvGrpSpPr>
          <p:nvPr/>
        </p:nvGrpSpPr>
        <p:grpSpPr bwMode="auto">
          <a:xfrm>
            <a:off x="10725464" y="6317261"/>
            <a:ext cx="696292" cy="468312"/>
            <a:chOff x="1352" y="681"/>
            <a:chExt cx="3519" cy="3153"/>
          </a:xfrm>
        </p:grpSpPr>
        <p:sp>
          <p:nvSpPr>
            <p:cNvPr id="218119" name="Freeform 7"/>
            <p:cNvSpPr>
              <a:spLocks noChangeAspect="1"/>
            </p:cNvSpPr>
            <p:nvPr/>
          </p:nvSpPr>
          <p:spPr bwMode="auto">
            <a:xfrm>
              <a:off x="1352" y="681"/>
              <a:ext cx="3519" cy="3153"/>
            </a:xfrm>
            <a:custGeom>
              <a:avLst/>
              <a:gdLst/>
              <a:ahLst/>
              <a:cxnLst>
                <a:cxn ang="0">
                  <a:pos x="0" y="3449"/>
                </a:cxn>
                <a:cxn ang="0">
                  <a:pos x="0" y="3449"/>
                </a:cxn>
                <a:cxn ang="0">
                  <a:pos x="0" y="0"/>
                </a:cxn>
                <a:cxn ang="0">
                  <a:pos x="3696" y="0"/>
                </a:cxn>
                <a:cxn ang="0">
                  <a:pos x="3327" y="3449"/>
                </a:cxn>
                <a:cxn ang="0">
                  <a:pos x="0" y="3449"/>
                </a:cxn>
              </a:cxnLst>
              <a:rect l="0" t="0" r="r" b="b"/>
              <a:pathLst>
                <a:path w="3862" h="3449">
                  <a:moveTo>
                    <a:pt x="0" y="3449"/>
                  </a:moveTo>
                  <a:lnTo>
                    <a:pt x="0" y="3449"/>
                  </a:lnTo>
                  <a:lnTo>
                    <a:pt x="0" y="0"/>
                  </a:lnTo>
                  <a:lnTo>
                    <a:pt x="3696" y="0"/>
                  </a:lnTo>
                  <a:cubicBezTo>
                    <a:pt x="3862" y="1150"/>
                    <a:pt x="3797" y="2241"/>
                    <a:pt x="3327" y="3449"/>
                  </a:cubicBezTo>
                  <a:lnTo>
                    <a:pt x="0" y="3449"/>
                  </a:lnTo>
                  <a:close/>
                </a:path>
              </a:pathLst>
            </a:custGeom>
            <a:solidFill>
              <a:srgbClr val="009D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1F497D"/>
                </a:solidFill>
              </a:endParaRPr>
            </a:p>
          </p:txBody>
        </p:sp>
        <p:sp>
          <p:nvSpPr>
            <p:cNvPr id="218120" name="Freeform 8"/>
            <p:cNvSpPr>
              <a:spLocks noChangeAspect="1"/>
            </p:cNvSpPr>
            <p:nvPr/>
          </p:nvSpPr>
          <p:spPr bwMode="auto">
            <a:xfrm>
              <a:off x="2708" y="1843"/>
              <a:ext cx="75" cy="54"/>
            </a:xfrm>
            <a:custGeom>
              <a:avLst/>
              <a:gdLst/>
              <a:ahLst/>
              <a:cxnLst>
                <a:cxn ang="0">
                  <a:pos x="16" y="40"/>
                </a:cxn>
                <a:cxn ang="0">
                  <a:pos x="16" y="40"/>
                </a:cxn>
                <a:cxn ang="0">
                  <a:pos x="0" y="54"/>
                </a:cxn>
                <a:cxn ang="0">
                  <a:pos x="79" y="22"/>
                </a:cxn>
                <a:cxn ang="0">
                  <a:pos x="81" y="0"/>
                </a:cxn>
                <a:cxn ang="0">
                  <a:pos x="16" y="40"/>
                </a:cxn>
              </a:cxnLst>
              <a:rect l="0" t="0" r="r" b="b"/>
              <a:pathLst>
                <a:path w="81" h="66">
                  <a:moveTo>
                    <a:pt x="16" y="40"/>
                  </a:moveTo>
                  <a:lnTo>
                    <a:pt x="16" y="40"/>
                  </a:lnTo>
                  <a:lnTo>
                    <a:pt x="0" y="54"/>
                  </a:lnTo>
                  <a:cubicBezTo>
                    <a:pt x="35" y="66"/>
                    <a:pt x="72" y="42"/>
                    <a:pt x="79" y="22"/>
                  </a:cubicBezTo>
                  <a:lnTo>
                    <a:pt x="81" y="0"/>
                  </a:lnTo>
                  <a:cubicBezTo>
                    <a:pt x="54" y="6"/>
                    <a:pt x="27" y="19"/>
                    <a:pt x="16" y="40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1F497D"/>
                </a:solidFill>
              </a:endParaRPr>
            </a:p>
          </p:txBody>
        </p:sp>
        <p:sp>
          <p:nvSpPr>
            <p:cNvPr id="218121" name="Freeform 9"/>
            <p:cNvSpPr>
              <a:spLocks noChangeAspect="1"/>
            </p:cNvSpPr>
            <p:nvPr/>
          </p:nvSpPr>
          <p:spPr bwMode="auto">
            <a:xfrm>
              <a:off x="2869" y="1972"/>
              <a:ext cx="65" cy="54"/>
            </a:xfrm>
            <a:custGeom>
              <a:avLst/>
              <a:gdLst/>
              <a:ahLst/>
              <a:cxnLst>
                <a:cxn ang="0">
                  <a:pos x="27" y="1"/>
                </a:cxn>
                <a:cxn ang="0">
                  <a:pos x="27" y="1"/>
                </a:cxn>
                <a:cxn ang="0">
                  <a:pos x="0" y="0"/>
                </a:cxn>
                <a:cxn ang="0">
                  <a:pos x="33" y="58"/>
                </a:cxn>
                <a:cxn ang="0">
                  <a:pos x="53" y="63"/>
                </a:cxn>
                <a:cxn ang="0">
                  <a:pos x="27" y="1"/>
                </a:cxn>
              </a:cxnLst>
              <a:rect l="0" t="0" r="r" b="b"/>
              <a:pathLst>
                <a:path w="81" h="63">
                  <a:moveTo>
                    <a:pt x="27" y="1"/>
                  </a:moveTo>
                  <a:lnTo>
                    <a:pt x="27" y="1"/>
                  </a:lnTo>
                  <a:lnTo>
                    <a:pt x="0" y="0"/>
                  </a:lnTo>
                  <a:cubicBezTo>
                    <a:pt x="0" y="24"/>
                    <a:pt x="8" y="43"/>
                    <a:pt x="33" y="58"/>
                  </a:cubicBezTo>
                  <a:lnTo>
                    <a:pt x="53" y="63"/>
                  </a:lnTo>
                  <a:cubicBezTo>
                    <a:pt x="81" y="39"/>
                    <a:pt x="44" y="15"/>
                    <a:pt x="27" y="1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1F497D"/>
                </a:solidFill>
              </a:endParaRPr>
            </a:p>
          </p:txBody>
        </p:sp>
        <p:sp>
          <p:nvSpPr>
            <p:cNvPr id="218122" name="Freeform 10"/>
            <p:cNvSpPr>
              <a:spLocks noChangeAspect="1"/>
            </p:cNvSpPr>
            <p:nvPr/>
          </p:nvSpPr>
          <p:spPr bwMode="auto">
            <a:xfrm>
              <a:off x="2622" y="1413"/>
              <a:ext cx="86" cy="75"/>
            </a:xfrm>
            <a:custGeom>
              <a:avLst/>
              <a:gdLst/>
              <a:ahLst/>
              <a:cxnLst>
                <a:cxn ang="0">
                  <a:pos x="20" y="50"/>
                </a:cxn>
                <a:cxn ang="0">
                  <a:pos x="20" y="50"/>
                </a:cxn>
                <a:cxn ang="0">
                  <a:pos x="0" y="64"/>
                </a:cxn>
                <a:cxn ang="0">
                  <a:pos x="89" y="27"/>
                </a:cxn>
                <a:cxn ang="0">
                  <a:pos x="96" y="0"/>
                </a:cxn>
                <a:cxn ang="0">
                  <a:pos x="20" y="50"/>
                </a:cxn>
              </a:cxnLst>
              <a:rect l="0" t="0" r="r" b="b"/>
              <a:pathLst>
                <a:path w="96" h="79">
                  <a:moveTo>
                    <a:pt x="20" y="50"/>
                  </a:moveTo>
                  <a:lnTo>
                    <a:pt x="20" y="50"/>
                  </a:lnTo>
                  <a:lnTo>
                    <a:pt x="0" y="64"/>
                  </a:lnTo>
                  <a:cubicBezTo>
                    <a:pt x="41" y="79"/>
                    <a:pt x="75" y="57"/>
                    <a:pt x="89" y="27"/>
                  </a:cubicBezTo>
                  <a:lnTo>
                    <a:pt x="96" y="0"/>
                  </a:lnTo>
                  <a:cubicBezTo>
                    <a:pt x="63" y="8"/>
                    <a:pt x="38" y="8"/>
                    <a:pt x="20" y="50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1F497D"/>
                </a:solidFill>
              </a:endParaRPr>
            </a:p>
          </p:txBody>
        </p:sp>
        <p:sp>
          <p:nvSpPr>
            <p:cNvPr id="218123" name="Freeform 11"/>
            <p:cNvSpPr>
              <a:spLocks noChangeAspect="1"/>
            </p:cNvSpPr>
            <p:nvPr/>
          </p:nvSpPr>
          <p:spPr bwMode="auto">
            <a:xfrm>
              <a:off x="2568" y="1563"/>
              <a:ext cx="75" cy="76"/>
            </a:xfrm>
            <a:custGeom>
              <a:avLst/>
              <a:gdLst/>
              <a:ahLst/>
              <a:cxnLst>
                <a:cxn ang="0">
                  <a:pos x="77" y="22"/>
                </a:cxn>
                <a:cxn ang="0">
                  <a:pos x="77" y="22"/>
                </a:cxn>
                <a:cxn ang="0">
                  <a:pos x="71" y="0"/>
                </a:cxn>
                <a:cxn ang="0">
                  <a:pos x="0" y="44"/>
                </a:cxn>
                <a:cxn ang="0">
                  <a:pos x="0" y="62"/>
                </a:cxn>
                <a:cxn ang="0">
                  <a:pos x="77" y="22"/>
                </a:cxn>
              </a:cxnLst>
              <a:rect l="0" t="0" r="r" b="b"/>
              <a:pathLst>
                <a:path w="77" h="77">
                  <a:moveTo>
                    <a:pt x="77" y="22"/>
                  </a:moveTo>
                  <a:lnTo>
                    <a:pt x="77" y="22"/>
                  </a:lnTo>
                  <a:lnTo>
                    <a:pt x="71" y="0"/>
                  </a:lnTo>
                  <a:cubicBezTo>
                    <a:pt x="38" y="7"/>
                    <a:pt x="14" y="19"/>
                    <a:pt x="0" y="44"/>
                  </a:cubicBezTo>
                  <a:lnTo>
                    <a:pt x="0" y="62"/>
                  </a:lnTo>
                  <a:cubicBezTo>
                    <a:pt x="42" y="77"/>
                    <a:pt x="64" y="40"/>
                    <a:pt x="77" y="22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1F497D"/>
                </a:solidFill>
              </a:endParaRPr>
            </a:p>
          </p:txBody>
        </p:sp>
        <p:sp>
          <p:nvSpPr>
            <p:cNvPr id="218124" name="Freeform 12"/>
            <p:cNvSpPr>
              <a:spLocks noChangeAspect="1"/>
            </p:cNvSpPr>
            <p:nvPr/>
          </p:nvSpPr>
          <p:spPr bwMode="auto">
            <a:xfrm>
              <a:off x="2547" y="1725"/>
              <a:ext cx="86" cy="64"/>
            </a:xfrm>
            <a:custGeom>
              <a:avLst/>
              <a:gdLst/>
              <a:ahLst/>
              <a:cxnLst>
                <a:cxn ang="0">
                  <a:pos x="0" y="52"/>
                </a:cxn>
                <a:cxn ang="0">
                  <a:pos x="0" y="52"/>
                </a:cxn>
                <a:cxn ang="0">
                  <a:pos x="14" y="60"/>
                </a:cxn>
                <a:cxn ang="0">
                  <a:pos x="73" y="23"/>
                </a:cxn>
                <a:cxn ang="0">
                  <a:pos x="90" y="8"/>
                </a:cxn>
                <a:cxn ang="0">
                  <a:pos x="0" y="52"/>
                </a:cxn>
              </a:cxnLst>
              <a:rect l="0" t="0" r="r" b="b"/>
              <a:pathLst>
                <a:path w="90" h="74">
                  <a:moveTo>
                    <a:pt x="0" y="52"/>
                  </a:moveTo>
                  <a:lnTo>
                    <a:pt x="0" y="52"/>
                  </a:lnTo>
                  <a:lnTo>
                    <a:pt x="14" y="60"/>
                  </a:lnTo>
                  <a:cubicBezTo>
                    <a:pt x="59" y="74"/>
                    <a:pt x="62" y="38"/>
                    <a:pt x="73" y="23"/>
                  </a:cubicBezTo>
                  <a:lnTo>
                    <a:pt x="90" y="8"/>
                  </a:lnTo>
                  <a:cubicBezTo>
                    <a:pt x="48" y="0"/>
                    <a:pt x="11" y="31"/>
                    <a:pt x="0" y="52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1F497D"/>
                </a:solidFill>
              </a:endParaRPr>
            </a:p>
          </p:txBody>
        </p:sp>
        <p:sp>
          <p:nvSpPr>
            <p:cNvPr id="218125" name="Freeform 13"/>
            <p:cNvSpPr>
              <a:spLocks noChangeAspect="1"/>
            </p:cNvSpPr>
            <p:nvPr/>
          </p:nvSpPr>
          <p:spPr bwMode="auto">
            <a:xfrm>
              <a:off x="2773" y="1176"/>
              <a:ext cx="86" cy="75"/>
            </a:xfrm>
            <a:custGeom>
              <a:avLst/>
              <a:gdLst/>
              <a:ahLst/>
              <a:cxnLst>
                <a:cxn ang="0">
                  <a:pos x="16" y="4"/>
                </a:cxn>
                <a:cxn ang="0">
                  <a:pos x="16" y="4"/>
                </a:cxn>
                <a:cxn ang="0">
                  <a:pos x="0" y="12"/>
                </a:cxn>
                <a:cxn ang="0">
                  <a:pos x="86" y="49"/>
                </a:cxn>
                <a:cxn ang="0">
                  <a:pos x="88" y="22"/>
                </a:cxn>
                <a:cxn ang="0">
                  <a:pos x="16" y="4"/>
                </a:cxn>
              </a:cxnLst>
              <a:rect l="0" t="0" r="r" b="b"/>
              <a:pathLst>
                <a:path w="88" h="72">
                  <a:moveTo>
                    <a:pt x="16" y="4"/>
                  </a:moveTo>
                  <a:lnTo>
                    <a:pt x="16" y="4"/>
                  </a:lnTo>
                  <a:lnTo>
                    <a:pt x="0" y="12"/>
                  </a:lnTo>
                  <a:cubicBezTo>
                    <a:pt x="4" y="40"/>
                    <a:pt x="70" y="72"/>
                    <a:pt x="86" y="49"/>
                  </a:cubicBezTo>
                  <a:lnTo>
                    <a:pt x="88" y="22"/>
                  </a:lnTo>
                  <a:cubicBezTo>
                    <a:pt x="67" y="8"/>
                    <a:pt x="45" y="0"/>
                    <a:pt x="16" y="4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1F497D"/>
                </a:solidFill>
              </a:endParaRPr>
            </a:p>
          </p:txBody>
        </p:sp>
        <p:sp>
          <p:nvSpPr>
            <p:cNvPr id="218126" name="Freeform 14"/>
            <p:cNvSpPr>
              <a:spLocks noChangeAspect="1"/>
            </p:cNvSpPr>
            <p:nvPr/>
          </p:nvSpPr>
          <p:spPr bwMode="auto">
            <a:xfrm>
              <a:off x="2955" y="1111"/>
              <a:ext cx="76" cy="87"/>
            </a:xfrm>
            <a:custGeom>
              <a:avLst/>
              <a:gdLst/>
              <a:ahLst/>
              <a:cxnLst>
                <a:cxn ang="0">
                  <a:pos x="46" y="7"/>
                </a:cxn>
                <a:cxn ang="0">
                  <a:pos x="46" y="7"/>
                </a:cxn>
                <a:cxn ang="0">
                  <a:pos x="21" y="0"/>
                </a:cxn>
                <a:cxn ang="0">
                  <a:pos x="14" y="66"/>
                </a:cxn>
                <a:cxn ang="0">
                  <a:pos x="27" y="92"/>
                </a:cxn>
                <a:cxn ang="0">
                  <a:pos x="46" y="7"/>
                </a:cxn>
              </a:cxnLst>
              <a:rect l="0" t="0" r="r" b="b"/>
              <a:pathLst>
                <a:path w="86" h="92">
                  <a:moveTo>
                    <a:pt x="46" y="7"/>
                  </a:moveTo>
                  <a:lnTo>
                    <a:pt x="46" y="7"/>
                  </a:lnTo>
                  <a:lnTo>
                    <a:pt x="21" y="0"/>
                  </a:lnTo>
                  <a:cubicBezTo>
                    <a:pt x="7" y="19"/>
                    <a:pt x="0" y="33"/>
                    <a:pt x="14" y="66"/>
                  </a:cubicBezTo>
                  <a:lnTo>
                    <a:pt x="27" y="92"/>
                  </a:lnTo>
                  <a:cubicBezTo>
                    <a:pt x="57" y="63"/>
                    <a:pt x="86" y="36"/>
                    <a:pt x="46" y="7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1F497D"/>
                </a:solidFill>
              </a:endParaRPr>
            </a:p>
          </p:txBody>
        </p:sp>
        <p:sp>
          <p:nvSpPr>
            <p:cNvPr id="218127" name="Freeform 15"/>
            <p:cNvSpPr>
              <a:spLocks noChangeAspect="1" noEditPoints="1"/>
            </p:cNvSpPr>
            <p:nvPr/>
          </p:nvSpPr>
          <p:spPr bwMode="auto">
            <a:xfrm>
              <a:off x="3149" y="929"/>
              <a:ext cx="667" cy="1678"/>
            </a:xfrm>
            <a:custGeom>
              <a:avLst/>
              <a:gdLst/>
              <a:ahLst/>
              <a:cxnLst>
                <a:cxn ang="0">
                  <a:pos x="451" y="808"/>
                </a:cxn>
                <a:cxn ang="0">
                  <a:pos x="451" y="808"/>
                </a:cxn>
                <a:cxn ang="0">
                  <a:pos x="326" y="776"/>
                </a:cxn>
                <a:cxn ang="0">
                  <a:pos x="477" y="746"/>
                </a:cxn>
                <a:cxn ang="0">
                  <a:pos x="493" y="773"/>
                </a:cxn>
                <a:cxn ang="0">
                  <a:pos x="451" y="808"/>
                </a:cxn>
                <a:cxn ang="0">
                  <a:pos x="451" y="808"/>
                </a:cxn>
                <a:cxn ang="0">
                  <a:pos x="639" y="841"/>
                </a:cxn>
                <a:cxn ang="0">
                  <a:pos x="639" y="841"/>
                </a:cxn>
                <a:cxn ang="0">
                  <a:pos x="601" y="701"/>
                </a:cxn>
                <a:cxn ang="0">
                  <a:pos x="634" y="646"/>
                </a:cxn>
                <a:cxn ang="0">
                  <a:pos x="627" y="477"/>
                </a:cxn>
                <a:cxn ang="0">
                  <a:pos x="641" y="463"/>
                </a:cxn>
                <a:cxn ang="0">
                  <a:pos x="627" y="414"/>
                </a:cxn>
                <a:cxn ang="0">
                  <a:pos x="615" y="342"/>
                </a:cxn>
                <a:cxn ang="0">
                  <a:pos x="590" y="286"/>
                </a:cxn>
                <a:cxn ang="0">
                  <a:pos x="602" y="260"/>
                </a:cxn>
                <a:cxn ang="0">
                  <a:pos x="560" y="236"/>
                </a:cxn>
                <a:cxn ang="0">
                  <a:pos x="523" y="213"/>
                </a:cxn>
                <a:cxn ang="0">
                  <a:pos x="514" y="180"/>
                </a:cxn>
                <a:cxn ang="0">
                  <a:pos x="483" y="195"/>
                </a:cxn>
                <a:cxn ang="0">
                  <a:pos x="476" y="154"/>
                </a:cxn>
                <a:cxn ang="0">
                  <a:pos x="434" y="171"/>
                </a:cxn>
                <a:cxn ang="0">
                  <a:pos x="411" y="119"/>
                </a:cxn>
                <a:cxn ang="0">
                  <a:pos x="389" y="124"/>
                </a:cxn>
                <a:cxn ang="0">
                  <a:pos x="356" y="150"/>
                </a:cxn>
                <a:cxn ang="0">
                  <a:pos x="356" y="101"/>
                </a:cxn>
                <a:cxn ang="0">
                  <a:pos x="341" y="93"/>
                </a:cxn>
                <a:cxn ang="0">
                  <a:pos x="314" y="81"/>
                </a:cxn>
                <a:cxn ang="0">
                  <a:pos x="276" y="97"/>
                </a:cxn>
                <a:cxn ang="0">
                  <a:pos x="292" y="51"/>
                </a:cxn>
                <a:cxn ang="0">
                  <a:pos x="244" y="106"/>
                </a:cxn>
                <a:cxn ang="0">
                  <a:pos x="216" y="112"/>
                </a:cxn>
                <a:cxn ang="0">
                  <a:pos x="266" y="43"/>
                </a:cxn>
                <a:cxn ang="0">
                  <a:pos x="214" y="91"/>
                </a:cxn>
                <a:cxn ang="0">
                  <a:pos x="173" y="98"/>
                </a:cxn>
                <a:cxn ang="0">
                  <a:pos x="186" y="38"/>
                </a:cxn>
                <a:cxn ang="0">
                  <a:pos x="173" y="69"/>
                </a:cxn>
                <a:cxn ang="0">
                  <a:pos x="166" y="36"/>
                </a:cxn>
                <a:cxn ang="0">
                  <a:pos x="142" y="114"/>
                </a:cxn>
                <a:cxn ang="0">
                  <a:pos x="126" y="39"/>
                </a:cxn>
                <a:cxn ang="0">
                  <a:pos x="80" y="112"/>
                </a:cxn>
                <a:cxn ang="0">
                  <a:pos x="56" y="117"/>
                </a:cxn>
                <a:cxn ang="0">
                  <a:pos x="37" y="43"/>
                </a:cxn>
                <a:cxn ang="0">
                  <a:pos x="5" y="1808"/>
                </a:cxn>
                <a:cxn ang="0">
                  <a:pos x="0" y="1840"/>
                </a:cxn>
                <a:cxn ang="0">
                  <a:pos x="162" y="1823"/>
                </a:cxn>
                <a:cxn ang="0">
                  <a:pos x="529" y="1842"/>
                </a:cxn>
                <a:cxn ang="0">
                  <a:pos x="614" y="1829"/>
                </a:cxn>
                <a:cxn ang="0">
                  <a:pos x="421" y="1778"/>
                </a:cxn>
                <a:cxn ang="0">
                  <a:pos x="272" y="1664"/>
                </a:cxn>
                <a:cxn ang="0">
                  <a:pos x="237" y="1566"/>
                </a:cxn>
                <a:cxn ang="0">
                  <a:pos x="239" y="1432"/>
                </a:cxn>
                <a:cxn ang="0">
                  <a:pos x="315" y="1404"/>
                </a:cxn>
                <a:cxn ang="0">
                  <a:pos x="586" y="1387"/>
                </a:cxn>
                <a:cxn ang="0">
                  <a:pos x="605" y="1286"/>
                </a:cxn>
                <a:cxn ang="0">
                  <a:pos x="609" y="1223"/>
                </a:cxn>
                <a:cxn ang="0">
                  <a:pos x="630" y="1174"/>
                </a:cxn>
                <a:cxn ang="0">
                  <a:pos x="590" y="1133"/>
                </a:cxn>
                <a:cxn ang="0">
                  <a:pos x="650" y="1082"/>
                </a:cxn>
                <a:cxn ang="0">
                  <a:pos x="621" y="1018"/>
                </a:cxn>
                <a:cxn ang="0">
                  <a:pos x="704" y="959"/>
                </a:cxn>
                <a:cxn ang="0">
                  <a:pos x="639" y="841"/>
                </a:cxn>
              </a:cxnLst>
              <a:rect l="0" t="0" r="r" b="b"/>
              <a:pathLst>
                <a:path w="724" h="1845">
                  <a:moveTo>
                    <a:pt x="451" y="808"/>
                  </a:moveTo>
                  <a:lnTo>
                    <a:pt x="451" y="808"/>
                  </a:lnTo>
                  <a:cubicBezTo>
                    <a:pt x="397" y="820"/>
                    <a:pt x="315" y="783"/>
                    <a:pt x="326" y="776"/>
                  </a:cubicBezTo>
                  <a:cubicBezTo>
                    <a:pt x="353" y="757"/>
                    <a:pt x="416" y="725"/>
                    <a:pt x="477" y="746"/>
                  </a:cubicBezTo>
                  <a:cubicBezTo>
                    <a:pt x="488" y="750"/>
                    <a:pt x="492" y="760"/>
                    <a:pt x="493" y="773"/>
                  </a:cubicBezTo>
                  <a:cubicBezTo>
                    <a:pt x="496" y="804"/>
                    <a:pt x="471" y="805"/>
                    <a:pt x="451" y="808"/>
                  </a:cubicBezTo>
                  <a:lnTo>
                    <a:pt x="451" y="808"/>
                  </a:lnTo>
                  <a:close/>
                  <a:moveTo>
                    <a:pt x="639" y="841"/>
                  </a:moveTo>
                  <a:lnTo>
                    <a:pt x="639" y="841"/>
                  </a:lnTo>
                  <a:cubicBezTo>
                    <a:pt x="610" y="803"/>
                    <a:pt x="557" y="751"/>
                    <a:pt x="601" y="701"/>
                  </a:cubicBezTo>
                  <a:cubicBezTo>
                    <a:pt x="624" y="684"/>
                    <a:pt x="631" y="670"/>
                    <a:pt x="634" y="646"/>
                  </a:cubicBezTo>
                  <a:cubicBezTo>
                    <a:pt x="644" y="560"/>
                    <a:pt x="639" y="524"/>
                    <a:pt x="627" y="477"/>
                  </a:cubicBezTo>
                  <a:cubicBezTo>
                    <a:pt x="629" y="473"/>
                    <a:pt x="638" y="478"/>
                    <a:pt x="641" y="463"/>
                  </a:cubicBezTo>
                  <a:cubicBezTo>
                    <a:pt x="650" y="422"/>
                    <a:pt x="627" y="414"/>
                    <a:pt x="627" y="414"/>
                  </a:cubicBezTo>
                  <a:cubicBezTo>
                    <a:pt x="645" y="399"/>
                    <a:pt x="643" y="342"/>
                    <a:pt x="615" y="342"/>
                  </a:cubicBezTo>
                  <a:cubicBezTo>
                    <a:pt x="631" y="317"/>
                    <a:pt x="617" y="277"/>
                    <a:pt x="590" y="286"/>
                  </a:cubicBezTo>
                  <a:cubicBezTo>
                    <a:pt x="590" y="286"/>
                    <a:pt x="604" y="278"/>
                    <a:pt x="602" y="260"/>
                  </a:cubicBezTo>
                  <a:cubicBezTo>
                    <a:pt x="599" y="224"/>
                    <a:pt x="547" y="259"/>
                    <a:pt x="560" y="236"/>
                  </a:cubicBezTo>
                  <a:cubicBezTo>
                    <a:pt x="567" y="223"/>
                    <a:pt x="538" y="180"/>
                    <a:pt x="523" y="213"/>
                  </a:cubicBezTo>
                  <a:cubicBezTo>
                    <a:pt x="515" y="207"/>
                    <a:pt x="529" y="187"/>
                    <a:pt x="514" y="180"/>
                  </a:cubicBezTo>
                  <a:cubicBezTo>
                    <a:pt x="504" y="181"/>
                    <a:pt x="495" y="188"/>
                    <a:pt x="483" y="195"/>
                  </a:cubicBezTo>
                  <a:cubicBezTo>
                    <a:pt x="479" y="181"/>
                    <a:pt x="494" y="174"/>
                    <a:pt x="476" y="154"/>
                  </a:cubicBezTo>
                  <a:cubicBezTo>
                    <a:pt x="452" y="138"/>
                    <a:pt x="451" y="162"/>
                    <a:pt x="434" y="171"/>
                  </a:cubicBezTo>
                  <a:cubicBezTo>
                    <a:pt x="404" y="164"/>
                    <a:pt x="476" y="146"/>
                    <a:pt x="411" y="119"/>
                  </a:cubicBezTo>
                  <a:cubicBezTo>
                    <a:pt x="395" y="159"/>
                    <a:pt x="396" y="130"/>
                    <a:pt x="389" y="124"/>
                  </a:cubicBezTo>
                  <a:cubicBezTo>
                    <a:pt x="384" y="121"/>
                    <a:pt x="375" y="131"/>
                    <a:pt x="356" y="150"/>
                  </a:cubicBezTo>
                  <a:cubicBezTo>
                    <a:pt x="366" y="124"/>
                    <a:pt x="388" y="92"/>
                    <a:pt x="356" y="101"/>
                  </a:cubicBezTo>
                  <a:cubicBezTo>
                    <a:pt x="320" y="117"/>
                    <a:pt x="341" y="96"/>
                    <a:pt x="341" y="93"/>
                  </a:cubicBezTo>
                  <a:cubicBezTo>
                    <a:pt x="372" y="79"/>
                    <a:pt x="312" y="45"/>
                    <a:pt x="314" y="81"/>
                  </a:cubicBezTo>
                  <a:cubicBezTo>
                    <a:pt x="313" y="105"/>
                    <a:pt x="261" y="126"/>
                    <a:pt x="276" y="97"/>
                  </a:cubicBezTo>
                  <a:cubicBezTo>
                    <a:pt x="286" y="60"/>
                    <a:pt x="331" y="116"/>
                    <a:pt x="292" y="51"/>
                  </a:cubicBezTo>
                  <a:cubicBezTo>
                    <a:pt x="268" y="78"/>
                    <a:pt x="248" y="96"/>
                    <a:pt x="244" y="106"/>
                  </a:cubicBezTo>
                  <a:cubicBezTo>
                    <a:pt x="225" y="181"/>
                    <a:pt x="236" y="113"/>
                    <a:pt x="216" y="112"/>
                  </a:cubicBezTo>
                  <a:cubicBezTo>
                    <a:pt x="242" y="94"/>
                    <a:pt x="276" y="63"/>
                    <a:pt x="266" y="43"/>
                  </a:cubicBezTo>
                  <a:cubicBezTo>
                    <a:pt x="237" y="41"/>
                    <a:pt x="172" y="87"/>
                    <a:pt x="214" y="91"/>
                  </a:cubicBezTo>
                  <a:cubicBezTo>
                    <a:pt x="211" y="106"/>
                    <a:pt x="187" y="123"/>
                    <a:pt x="173" y="98"/>
                  </a:cubicBezTo>
                  <a:cubicBezTo>
                    <a:pt x="196" y="92"/>
                    <a:pt x="235" y="15"/>
                    <a:pt x="186" y="38"/>
                  </a:cubicBezTo>
                  <a:cubicBezTo>
                    <a:pt x="181" y="42"/>
                    <a:pt x="181" y="56"/>
                    <a:pt x="173" y="69"/>
                  </a:cubicBezTo>
                  <a:cubicBezTo>
                    <a:pt x="161" y="58"/>
                    <a:pt x="170" y="42"/>
                    <a:pt x="166" y="36"/>
                  </a:cubicBezTo>
                  <a:cubicBezTo>
                    <a:pt x="127" y="0"/>
                    <a:pt x="141" y="93"/>
                    <a:pt x="142" y="114"/>
                  </a:cubicBezTo>
                  <a:cubicBezTo>
                    <a:pt x="92" y="82"/>
                    <a:pt x="139" y="91"/>
                    <a:pt x="126" y="39"/>
                  </a:cubicBezTo>
                  <a:cubicBezTo>
                    <a:pt x="84" y="47"/>
                    <a:pt x="73" y="64"/>
                    <a:pt x="80" y="112"/>
                  </a:cubicBezTo>
                  <a:cubicBezTo>
                    <a:pt x="74" y="123"/>
                    <a:pt x="63" y="149"/>
                    <a:pt x="56" y="117"/>
                  </a:cubicBezTo>
                  <a:cubicBezTo>
                    <a:pt x="79" y="87"/>
                    <a:pt x="77" y="44"/>
                    <a:pt x="37" y="43"/>
                  </a:cubicBezTo>
                  <a:cubicBezTo>
                    <a:pt x="101" y="631"/>
                    <a:pt x="97" y="1225"/>
                    <a:pt x="5" y="1808"/>
                  </a:cubicBezTo>
                  <a:lnTo>
                    <a:pt x="0" y="1840"/>
                  </a:lnTo>
                  <a:cubicBezTo>
                    <a:pt x="46" y="1839"/>
                    <a:pt x="113" y="1825"/>
                    <a:pt x="162" y="1823"/>
                  </a:cubicBezTo>
                  <a:cubicBezTo>
                    <a:pt x="301" y="1827"/>
                    <a:pt x="298" y="1845"/>
                    <a:pt x="529" y="1842"/>
                  </a:cubicBezTo>
                  <a:cubicBezTo>
                    <a:pt x="582" y="1837"/>
                    <a:pt x="597" y="1829"/>
                    <a:pt x="614" y="1829"/>
                  </a:cubicBezTo>
                  <a:cubicBezTo>
                    <a:pt x="597" y="1758"/>
                    <a:pt x="481" y="1798"/>
                    <a:pt x="421" y="1778"/>
                  </a:cubicBezTo>
                  <a:cubicBezTo>
                    <a:pt x="321" y="1768"/>
                    <a:pt x="304" y="1708"/>
                    <a:pt x="272" y="1664"/>
                  </a:cubicBezTo>
                  <a:cubicBezTo>
                    <a:pt x="258" y="1639"/>
                    <a:pt x="237" y="1608"/>
                    <a:pt x="237" y="1566"/>
                  </a:cubicBezTo>
                  <a:cubicBezTo>
                    <a:pt x="230" y="1513"/>
                    <a:pt x="240" y="1484"/>
                    <a:pt x="239" y="1432"/>
                  </a:cubicBezTo>
                  <a:cubicBezTo>
                    <a:pt x="243" y="1393"/>
                    <a:pt x="287" y="1401"/>
                    <a:pt x="315" y="1404"/>
                  </a:cubicBezTo>
                  <a:cubicBezTo>
                    <a:pt x="402" y="1413"/>
                    <a:pt x="547" y="1399"/>
                    <a:pt x="586" y="1387"/>
                  </a:cubicBezTo>
                  <a:cubicBezTo>
                    <a:pt x="641" y="1371"/>
                    <a:pt x="642" y="1337"/>
                    <a:pt x="605" y="1286"/>
                  </a:cubicBezTo>
                  <a:cubicBezTo>
                    <a:pt x="597" y="1261"/>
                    <a:pt x="598" y="1245"/>
                    <a:pt x="609" y="1223"/>
                  </a:cubicBezTo>
                  <a:cubicBezTo>
                    <a:pt x="625" y="1206"/>
                    <a:pt x="644" y="1195"/>
                    <a:pt x="630" y="1174"/>
                  </a:cubicBezTo>
                  <a:cubicBezTo>
                    <a:pt x="630" y="1174"/>
                    <a:pt x="504" y="1147"/>
                    <a:pt x="590" y="1133"/>
                  </a:cubicBezTo>
                  <a:cubicBezTo>
                    <a:pt x="679" y="1118"/>
                    <a:pt x="650" y="1082"/>
                    <a:pt x="650" y="1082"/>
                  </a:cubicBezTo>
                  <a:cubicBezTo>
                    <a:pt x="650" y="1082"/>
                    <a:pt x="635" y="1045"/>
                    <a:pt x="621" y="1018"/>
                  </a:cubicBezTo>
                  <a:cubicBezTo>
                    <a:pt x="611" y="998"/>
                    <a:pt x="695" y="991"/>
                    <a:pt x="704" y="959"/>
                  </a:cubicBezTo>
                  <a:cubicBezTo>
                    <a:pt x="724" y="932"/>
                    <a:pt x="661" y="871"/>
                    <a:pt x="639" y="841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1F497D"/>
                </a:solidFill>
              </a:endParaRPr>
            </a:p>
          </p:txBody>
        </p:sp>
        <p:sp>
          <p:nvSpPr>
            <p:cNvPr id="218128" name="Freeform 16"/>
            <p:cNvSpPr>
              <a:spLocks noChangeAspect="1"/>
            </p:cNvSpPr>
            <p:nvPr/>
          </p:nvSpPr>
          <p:spPr bwMode="auto">
            <a:xfrm>
              <a:off x="1352" y="681"/>
              <a:ext cx="1829" cy="3153"/>
            </a:xfrm>
            <a:custGeom>
              <a:avLst/>
              <a:gdLst/>
              <a:ahLst/>
              <a:cxnLst>
                <a:cxn ang="0">
                  <a:pos x="1974" y="2106"/>
                </a:cxn>
                <a:cxn ang="0">
                  <a:pos x="0" y="3449"/>
                </a:cxn>
                <a:cxn ang="0">
                  <a:pos x="1972" y="0"/>
                </a:cxn>
                <a:cxn ang="0">
                  <a:pos x="1980" y="347"/>
                </a:cxn>
                <a:cxn ang="0">
                  <a:pos x="1982" y="392"/>
                </a:cxn>
                <a:cxn ang="0">
                  <a:pos x="1923" y="324"/>
                </a:cxn>
                <a:cxn ang="0">
                  <a:pos x="1878" y="384"/>
                </a:cxn>
                <a:cxn ang="0">
                  <a:pos x="1858" y="411"/>
                </a:cxn>
                <a:cxn ang="0">
                  <a:pos x="1823" y="348"/>
                </a:cxn>
                <a:cxn ang="0">
                  <a:pos x="1766" y="359"/>
                </a:cxn>
                <a:cxn ang="0">
                  <a:pos x="1702" y="494"/>
                </a:cxn>
                <a:cxn ang="0">
                  <a:pos x="1680" y="420"/>
                </a:cxn>
                <a:cxn ang="0">
                  <a:pos x="1605" y="427"/>
                </a:cxn>
                <a:cxn ang="0">
                  <a:pos x="1609" y="499"/>
                </a:cxn>
                <a:cxn ang="0">
                  <a:pos x="1520" y="498"/>
                </a:cxn>
                <a:cxn ang="0">
                  <a:pos x="1513" y="560"/>
                </a:cxn>
                <a:cxn ang="0">
                  <a:pos x="1407" y="521"/>
                </a:cxn>
                <a:cxn ang="0">
                  <a:pos x="1521" y="578"/>
                </a:cxn>
                <a:cxn ang="0">
                  <a:pos x="1453" y="612"/>
                </a:cxn>
                <a:cxn ang="0">
                  <a:pos x="1441" y="603"/>
                </a:cxn>
                <a:cxn ang="0">
                  <a:pos x="1404" y="640"/>
                </a:cxn>
                <a:cxn ang="0">
                  <a:pos x="1448" y="632"/>
                </a:cxn>
                <a:cxn ang="0">
                  <a:pos x="1433" y="703"/>
                </a:cxn>
                <a:cxn ang="0">
                  <a:pos x="1392" y="719"/>
                </a:cxn>
                <a:cxn ang="0">
                  <a:pos x="1410" y="785"/>
                </a:cxn>
                <a:cxn ang="0">
                  <a:pos x="1321" y="761"/>
                </a:cxn>
                <a:cxn ang="0">
                  <a:pos x="1255" y="760"/>
                </a:cxn>
                <a:cxn ang="0">
                  <a:pos x="1205" y="829"/>
                </a:cxn>
                <a:cxn ang="0">
                  <a:pos x="1350" y="845"/>
                </a:cxn>
                <a:cxn ang="0">
                  <a:pos x="1308" y="881"/>
                </a:cxn>
                <a:cxn ang="0">
                  <a:pos x="1308" y="953"/>
                </a:cxn>
                <a:cxn ang="0">
                  <a:pos x="1358" y="951"/>
                </a:cxn>
                <a:cxn ang="0">
                  <a:pos x="1319" y="1061"/>
                </a:cxn>
                <a:cxn ang="0">
                  <a:pos x="1324" y="1115"/>
                </a:cxn>
                <a:cxn ang="0">
                  <a:pos x="1283" y="1185"/>
                </a:cxn>
                <a:cxn ang="0">
                  <a:pos x="1257" y="1226"/>
                </a:cxn>
                <a:cxn ang="0">
                  <a:pos x="1285" y="1267"/>
                </a:cxn>
                <a:cxn ang="0">
                  <a:pos x="1314" y="1311"/>
                </a:cxn>
                <a:cxn ang="0">
                  <a:pos x="1363" y="1376"/>
                </a:cxn>
                <a:cxn ang="0">
                  <a:pos x="1438" y="1413"/>
                </a:cxn>
                <a:cxn ang="0">
                  <a:pos x="1494" y="1379"/>
                </a:cxn>
                <a:cxn ang="0">
                  <a:pos x="1513" y="1471"/>
                </a:cxn>
                <a:cxn ang="0">
                  <a:pos x="1605" y="1474"/>
                </a:cxn>
                <a:cxn ang="0">
                  <a:pos x="1584" y="1525"/>
                </a:cxn>
                <a:cxn ang="0">
                  <a:pos x="1618" y="1559"/>
                </a:cxn>
                <a:cxn ang="0">
                  <a:pos x="1644" y="1602"/>
                </a:cxn>
                <a:cxn ang="0">
                  <a:pos x="1700" y="1594"/>
                </a:cxn>
                <a:cxn ang="0">
                  <a:pos x="1729" y="1535"/>
                </a:cxn>
                <a:cxn ang="0">
                  <a:pos x="1794" y="1574"/>
                </a:cxn>
                <a:cxn ang="0">
                  <a:pos x="1808" y="1711"/>
                </a:cxn>
                <a:cxn ang="0">
                  <a:pos x="1870" y="1688"/>
                </a:cxn>
                <a:cxn ang="0">
                  <a:pos x="1839" y="1844"/>
                </a:cxn>
                <a:cxn ang="0">
                  <a:pos x="1446" y="2092"/>
                </a:cxn>
                <a:cxn ang="0">
                  <a:pos x="1654" y="2103"/>
                </a:cxn>
                <a:cxn ang="0">
                  <a:pos x="1974" y="2105"/>
                </a:cxn>
              </a:cxnLst>
              <a:rect l="0" t="0" r="r" b="b"/>
              <a:pathLst>
                <a:path w="2011" h="3449">
                  <a:moveTo>
                    <a:pt x="1974" y="2106"/>
                  </a:moveTo>
                  <a:lnTo>
                    <a:pt x="1974" y="2106"/>
                  </a:lnTo>
                  <a:cubicBezTo>
                    <a:pt x="1903" y="2543"/>
                    <a:pt x="1782" y="2987"/>
                    <a:pt x="1602" y="3449"/>
                  </a:cubicBezTo>
                  <a:lnTo>
                    <a:pt x="0" y="3449"/>
                  </a:lnTo>
                  <a:lnTo>
                    <a:pt x="0" y="0"/>
                  </a:lnTo>
                  <a:lnTo>
                    <a:pt x="1972" y="0"/>
                  </a:lnTo>
                  <a:cubicBezTo>
                    <a:pt x="1988" y="113"/>
                    <a:pt x="1999" y="197"/>
                    <a:pt x="2011" y="309"/>
                  </a:cubicBezTo>
                  <a:cubicBezTo>
                    <a:pt x="2011" y="309"/>
                    <a:pt x="1977" y="320"/>
                    <a:pt x="1980" y="347"/>
                  </a:cubicBezTo>
                  <a:cubicBezTo>
                    <a:pt x="1984" y="378"/>
                    <a:pt x="1997" y="385"/>
                    <a:pt x="1997" y="385"/>
                  </a:cubicBezTo>
                  <a:lnTo>
                    <a:pt x="1982" y="392"/>
                  </a:lnTo>
                  <a:cubicBezTo>
                    <a:pt x="1982" y="392"/>
                    <a:pt x="1966" y="368"/>
                    <a:pt x="1966" y="369"/>
                  </a:cubicBezTo>
                  <a:cubicBezTo>
                    <a:pt x="1966" y="346"/>
                    <a:pt x="1976" y="311"/>
                    <a:pt x="1923" y="324"/>
                  </a:cubicBezTo>
                  <a:cubicBezTo>
                    <a:pt x="1904" y="365"/>
                    <a:pt x="1952" y="373"/>
                    <a:pt x="1939" y="401"/>
                  </a:cubicBezTo>
                  <a:cubicBezTo>
                    <a:pt x="1883" y="404"/>
                    <a:pt x="1923" y="359"/>
                    <a:pt x="1878" y="384"/>
                  </a:cubicBezTo>
                  <a:cubicBezTo>
                    <a:pt x="1881" y="371"/>
                    <a:pt x="1871" y="336"/>
                    <a:pt x="1857" y="339"/>
                  </a:cubicBezTo>
                  <a:cubicBezTo>
                    <a:pt x="1851" y="358"/>
                    <a:pt x="1836" y="391"/>
                    <a:pt x="1858" y="411"/>
                  </a:cubicBezTo>
                  <a:cubicBezTo>
                    <a:pt x="1851" y="416"/>
                    <a:pt x="1830" y="413"/>
                    <a:pt x="1825" y="406"/>
                  </a:cubicBezTo>
                  <a:cubicBezTo>
                    <a:pt x="1819" y="396"/>
                    <a:pt x="1840" y="379"/>
                    <a:pt x="1823" y="348"/>
                  </a:cubicBezTo>
                  <a:cubicBezTo>
                    <a:pt x="1771" y="371"/>
                    <a:pt x="1819" y="421"/>
                    <a:pt x="1776" y="440"/>
                  </a:cubicBezTo>
                  <a:cubicBezTo>
                    <a:pt x="1729" y="434"/>
                    <a:pt x="1803" y="394"/>
                    <a:pt x="1766" y="359"/>
                  </a:cubicBezTo>
                  <a:cubicBezTo>
                    <a:pt x="1723" y="369"/>
                    <a:pt x="1707" y="413"/>
                    <a:pt x="1724" y="439"/>
                  </a:cubicBezTo>
                  <a:cubicBezTo>
                    <a:pt x="1723" y="462"/>
                    <a:pt x="1705" y="474"/>
                    <a:pt x="1702" y="494"/>
                  </a:cubicBezTo>
                  <a:cubicBezTo>
                    <a:pt x="1681" y="491"/>
                    <a:pt x="1672" y="483"/>
                    <a:pt x="1670" y="475"/>
                  </a:cubicBezTo>
                  <a:cubicBezTo>
                    <a:pt x="1667" y="460"/>
                    <a:pt x="1708" y="453"/>
                    <a:pt x="1680" y="420"/>
                  </a:cubicBezTo>
                  <a:cubicBezTo>
                    <a:pt x="1635" y="427"/>
                    <a:pt x="1665" y="500"/>
                    <a:pt x="1629" y="461"/>
                  </a:cubicBezTo>
                  <a:cubicBezTo>
                    <a:pt x="1626" y="444"/>
                    <a:pt x="1614" y="429"/>
                    <a:pt x="1605" y="427"/>
                  </a:cubicBezTo>
                  <a:cubicBezTo>
                    <a:pt x="1588" y="439"/>
                    <a:pt x="1580" y="459"/>
                    <a:pt x="1591" y="476"/>
                  </a:cubicBezTo>
                  <a:lnTo>
                    <a:pt x="1609" y="499"/>
                  </a:lnTo>
                  <a:cubicBezTo>
                    <a:pt x="1607" y="499"/>
                    <a:pt x="1617" y="513"/>
                    <a:pt x="1615" y="512"/>
                  </a:cubicBezTo>
                  <a:cubicBezTo>
                    <a:pt x="1585" y="488"/>
                    <a:pt x="1545" y="471"/>
                    <a:pt x="1520" y="498"/>
                  </a:cubicBezTo>
                  <a:cubicBezTo>
                    <a:pt x="1523" y="523"/>
                    <a:pt x="1545" y="525"/>
                    <a:pt x="1579" y="533"/>
                  </a:cubicBezTo>
                  <a:cubicBezTo>
                    <a:pt x="1536" y="537"/>
                    <a:pt x="1527" y="552"/>
                    <a:pt x="1513" y="560"/>
                  </a:cubicBezTo>
                  <a:cubicBezTo>
                    <a:pt x="1508" y="532"/>
                    <a:pt x="1475" y="527"/>
                    <a:pt x="1444" y="523"/>
                  </a:cubicBezTo>
                  <a:cubicBezTo>
                    <a:pt x="1426" y="527"/>
                    <a:pt x="1415" y="515"/>
                    <a:pt x="1407" y="521"/>
                  </a:cubicBezTo>
                  <a:cubicBezTo>
                    <a:pt x="1420" y="553"/>
                    <a:pt x="1451" y="578"/>
                    <a:pt x="1490" y="586"/>
                  </a:cubicBezTo>
                  <a:cubicBezTo>
                    <a:pt x="1507" y="584"/>
                    <a:pt x="1509" y="584"/>
                    <a:pt x="1521" y="578"/>
                  </a:cubicBezTo>
                  <a:cubicBezTo>
                    <a:pt x="1544" y="588"/>
                    <a:pt x="1542" y="592"/>
                    <a:pt x="1548" y="608"/>
                  </a:cubicBezTo>
                  <a:cubicBezTo>
                    <a:pt x="1514" y="623"/>
                    <a:pt x="1487" y="604"/>
                    <a:pt x="1453" y="612"/>
                  </a:cubicBezTo>
                  <a:cubicBezTo>
                    <a:pt x="1453" y="614"/>
                    <a:pt x="1445" y="614"/>
                    <a:pt x="1444" y="611"/>
                  </a:cubicBezTo>
                  <a:cubicBezTo>
                    <a:pt x="1445" y="611"/>
                    <a:pt x="1440" y="603"/>
                    <a:pt x="1441" y="603"/>
                  </a:cubicBezTo>
                  <a:cubicBezTo>
                    <a:pt x="1426" y="575"/>
                    <a:pt x="1387" y="586"/>
                    <a:pt x="1366" y="592"/>
                  </a:cubicBezTo>
                  <a:cubicBezTo>
                    <a:pt x="1363" y="614"/>
                    <a:pt x="1386" y="632"/>
                    <a:pt x="1404" y="640"/>
                  </a:cubicBezTo>
                  <a:cubicBezTo>
                    <a:pt x="1429" y="649"/>
                    <a:pt x="1438" y="641"/>
                    <a:pt x="1438" y="641"/>
                  </a:cubicBezTo>
                  <a:lnTo>
                    <a:pt x="1448" y="632"/>
                  </a:lnTo>
                  <a:cubicBezTo>
                    <a:pt x="1459" y="672"/>
                    <a:pt x="1473" y="674"/>
                    <a:pt x="1494" y="690"/>
                  </a:cubicBezTo>
                  <a:cubicBezTo>
                    <a:pt x="1471" y="698"/>
                    <a:pt x="1462" y="705"/>
                    <a:pt x="1433" y="703"/>
                  </a:cubicBezTo>
                  <a:cubicBezTo>
                    <a:pt x="1400" y="652"/>
                    <a:pt x="1301" y="630"/>
                    <a:pt x="1305" y="654"/>
                  </a:cubicBezTo>
                  <a:cubicBezTo>
                    <a:pt x="1319" y="706"/>
                    <a:pt x="1392" y="719"/>
                    <a:pt x="1392" y="719"/>
                  </a:cubicBezTo>
                  <a:cubicBezTo>
                    <a:pt x="1392" y="719"/>
                    <a:pt x="1354" y="733"/>
                    <a:pt x="1360" y="746"/>
                  </a:cubicBezTo>
                  <a:cubicBezTo>
                    <a:pt x="1367" y="758"/>
                    <a:pt x="1417" y="766"/>
                    <a:pt x="1410" y="785"/>
                  </a:cubicBezTo>
                  <a:cubicBezTo>
                    <a:pt x="1358" y="762"/>
                    <a:pt x="1348" y="771"/>
                    <a:pt x="1383" y="817"/>
                  </a:cubicBezTo>
                  <a:cubicBezTo>
                    <a:pt x="1339" y="819"/>
                    <a:pt x="1349" y="772"/>
                    <a:pt x="1321" y="761"/>
                  </a:cubicBezTo>
                  <a:cubicBezTo>
                    <a:pt x="1301" y="775"/>
                    <a:pt x="1313" y="806"/>
                    <a:pt x="1313" y="806"/>
                  </a:cubicBezTo>
                  <a:cubicBezTo>
                    <a:pt x="1303" y="798"/>
                    <a:pt x="1277" y="754"/>
                    <a:pt x="1255" y="760"/>
                  </a:cubicBezTo>
                  <a:cubicBezTo>
                    <a:pt x="1248" y="765"/>
                    <a:pt x="1248" y="789"/>
                    <a:pt x="1265" y="805"/>
                  </a:cubicBezTo>
                  <a:cubicBezTo>
                    <a:pt x="1244" y="809"/>
                    <a:pt x="1210" y="806"/>
                    <a:pt x="1205" y="829"/>
                  </a:cubicBezTo>
                  <a:cubicBezTo>
                    <a:pt x="1239" y="855"/>
                    <a:pt x="1276" y="855"/>
                    <a:pt x="1329" y="849"/>
                  </a:cubicBezTo>
                  <a:cubicBezTo>
                    <a:pt x="1329" y="849"/>
                    <a:pt x="1339" y="848"/>
                    <a:pt x="1350" y="845"/>
                  </a:cubicBezTo>
                  <a:cubicBezTo>
                    <a:pt x="1360" y="842"/>
                    <a:pt x="1375" y="856"/>
                    <a:pt x="1375" y="856"/>
                  </a:cubicBezTo>
                  <a:cubicBezTo>
                    <a:pt x="1349" y="862"/>
                    <a:pt x="1360" y="870"/>
                    <a:pt x="1308" y="881"/>
                  </a:cubicBezTo>
                  <a:cubicBezTo>
                    <a:pt x="1274" y="897"/>
                    <a:pt x="1247" y="918"/>
                    <a:pt x="1247" y="953"/>
                  </a:cubicBezTo>
                  <a:cubicBezTo>
                    <a:pt x="1268" y="963"/>
                    <a:pt x="1294" y="973"/>
                    <a:pt x="1308" y="953"/>
                  </a:cubicBezTo>
                  <a:cubicBezTo>
                    <a:pt x="1331" y="920"/>
                    <a:pt x="1324" y="946"/>
                    <a:pt x="1340" y="945"/>
                  </a:cubicBezTo>
                  <a:lnTo>
                    <a:pt x="1358" y="951"/>
                  </a:lnTo>
                  <a:cubicBezTo>
                    <a:pt x="1344" y="986"/>
                    <a:pt x="1264" y="985"/>
                    <a:pt x="1279" y="1011"/>
                  </a:cubicBezTo>
                  <a:cubicBezTo>
                    <a:pt x="1295" y="1035"/>
                    <a:pt x="1319" y="1061"/>
                    <a:pt x="1319" y="1061"/>
                  </a:cubicBezTo>
                  <a:cubicBezTo>
                    <a:pt x="1319" y="1061"/>
                    <a:pt x="1263" y="1032"/>
                    <a:pt x="1247" y="1053"/>
                  </a:cubicBezTo>
                  <a:cubicBezTo>
                    <a:pt x="1232" y="1071"/>
                    <a:pt x="1265" y="1102"/>
                    <a:pt x="1324" y="1115"/>
                  </a:cubicBezTo>
                  <a:cubicBezTo>
                    <a:pt x="1304" y="1128"/>
                    <a:pt x="1233" y="1115"/>
                    <a:pt x="1276" y="1160"/>
                  </a:cubicBezTo>
                  <a:cubicBezTo>
                    <a:pt x="1225" y="1181"/>
                    <a:pt x="1242" y="1196"/>
                    <a:pt x="1283" y="1185"/>
                  </a:cubicBezTo>
                  <a:lnTo>
                    <a:pt x="1303" y="1188"/>
                  </a:lnTo>
                  <a:cubicBezTo>
                    <a:pt x="1291" y="1196"/>
                    <a:pt x="1254" y="1213"/>
                    <a:pt x="1257" y="1226"/>
                  </a:cubicBezTo>
                  <a:cubicBezTo>
                    <a:pt x="1259" y="1243"/>
                    <a:pt x="1300" y="1222"/>
                    <a:pt x="1307" y="1235"/>
                  </a:cubicBezTo>
                  <a:cubicBezTo>
                    <a:pt x="1310" y="1254"/>
                    <a:pt x="1287" y="1262"/>
                    <a:pt x="1285" y="1267"/>
                  </a:cubicBezTo>
                  <a:cubicBezTo>
                    <a:pt x="1314" y="1286"/>
                    <a:pt x="1331" y="1241"/>
                    <a:pt x="1358" y="1267"/>
                  </a:cubicBezTo>
                  <a:cubicBezTo>
                    <a:pt x="1348" y="1286"/>
                    <a:pt x="1305" y="1282"/>
                    <a:pt x="1314" y="1311"/>
                  </a:cubicBezTo>
                  <a:cubicBezTo>
                    <a:pt x="1330" y="1323"/>
                    <a:pt x="1357" y="1318"/>
                    <a:pt x="1373" y="1329"/>
                  </a:cubicBezTo>
                  <a:cubicBezTo>
                    <a:pt x="1373" y="1329"/>
                    <a:pt x="1351" y="1371"/>
                    <a:pt x="1363" y="1376"/>
                  </a:cubicBezTo>
                  <a:cubicBezTo>
                    <a:pt x="1386" y="1388"/>
                    <a:pt x="1408" y="1351"/>
                    <a:pt x="1416" y="1349"/>
                  </a:cubicBezTo>
                  <a:cubicBezTo>
                    <a:pt x="1410" y="1396"/>
                    <a:pt x="1450" y="1380"/>
                    <a:pt x="1438" y="1413"/>
                  </a:cubicBezTo>
                  <a:cubicBezTo>
                    <a:pt x="1438" y="1430"/>
                    <a:pt x="1436" y="1454"/>
                    <a:pt x="1454" y="1463"/>
                  </a:cubicBezTo>
                  <a:cubicBezTo>
                    <a:pt x="1491" y="1452"/>
                    <a:pt x="1495" y="1423"/>
                    <a:pt x="1494" y="1379"/>
                  </a:cubicBezTo>
                  <a:cubicBezTo>
                    <a:pt x="1494" y="1364"/>
                    <a:pt x="1537" y="1389"/>
                    <a:pt x="1537" y="1389"/>
                  </a:cubicBezTo>
                  <a:cubicBezTo>
                    <a:pt x="1563" y="1410"/>
                    <a:pt x="1492" y="1426"/>
                    <a:pt x="1513" y="1471"/>
                  </a:cubicBezTo>
                  <a:cubicBezTo>
                    <a:pt x="1573" y="1479"/>
                    <a:pt x="1573" y="1428"/>
                    <a:pt x="1621" y="1419"/>
                  </a:cubicBezTo>
                  <a:cubicBezTo>
                    <a:pt x="1643" y="1433"/>
                    <a:pt x="1612" y="1457"/>
                    <a:pt x="1605" y="1474"/>
                  </a:cubicBezTo>
                  <a:cubicBezTo>
                    <a:pt x="1575" y="1491"/>
                    <a:pt x="1538" y="1471"/>
                    <a:pt x="1509" y="1530"/>
                  </a:cubicBezTo>
                  <a:cubicBezTo>
                    <a:pt x="1551" y="1546"/>
                    <a:pt x="1570" y="1533"/>
                    <a:pt x="1584" y="1525"/>
                  </a:cubicBezTo>
                  <a:cubicBezTo>
                    <a:pt x="1597" y="1516"/>
                    <a:pt x="1596" y="1511"/>
                    <a:pt x="1606" y="1507"/>
                  </a:cubicBezTo>
                  <a:cubicBezTo>
                    <a:pt x="1607" y="1523"/>
                    <a:pt x="1603" y="1553"/>
                    <a:pt x="1618" y="1559"/>
                  </a:cubicBezTo>
                  <a:cubicBezTo>
                    <a:pt x="1632" y="1558"/>
                    <a:pt x="1633" y="1553"/>
                    <a:pt x="1645" y="1546"/>
                  </a:cubicBezTo>
                  <a:cubicBezTo>
                    <a:pt x="1657" y="1558"/>
                    <a:pt x="1626" y="1589"/>
                    <a:pt x="1644" y="1602"/>
                  </a:cubicBezTo>
                  <a:cubicBezTo>
                    <a:pt x="1661" y="1599"/>
                    <a:pt x="1667" y="1583"/>
                    <a:pt x="1667" y="1583"/>
                  </a:cubicBezTo>
                  <a:cubicBezTo>
                    <a:pt x="1677" y="1597"/>
                    <a:pt x="1689" y="1597"/>
                    <a:pt x="1700" y="1594"/>
                  </a:cubicBezTo>
                  <a:cubicBezTo>
                    <a:pt x="1706" y="1579"/>
                    <a:pt x="1707" y="1545"/>
                    <a:pt x="1688" y="1533"/>
                  </a:cubicBezTo>
                  <a:cubicBezTo>
                    <a:pt x="1697" y="1522"/>
                    <a:pt x="1720" y="1543"/>
                    <a:pt x="1729" y="1535"/>
                  </a:cubicBezTo>
                  <a:cubicBezTo>
                    <a:pt x="1748" y="1557"/>
                    <a:pt x="1707" y="1600"/>
                    <a:pt x="1737" y="1618"/>
                  </a:cubicBezTo>
                  <a:cubicBezTo>
                    <a:pt x="1766" y="1615"/>
                    <a:pt x="1765" y="1586"/>
                    <a:pt x="1794" y="1574"/>
                  </a:cubicBezTo>
                  <a:cubicBezTo>
                    <a:pt x="1789" y="1604"/>
                    <a:pt x="1824" y="1626"/>
                    <a:pt x="1779" y="1648"/>
                  </a:cubicBezTo>
                  <a:cubicBezTo>
                    <a:pt x="1779" y="1677"/>
                    <a:pt x="1834" y="1669"/>
                    <a:pt x="1808" y="1711"/>
                  </a:cubicBezTo>
                  <a:cubicBezTo>
                    <a:pt x="1818" y="1728"/>
                    <a:pt x="1831" y="1721"/>
                    <a:pt x="1843" y="1718"/>
                  </a:cubicBezTo>
                  <a:lnTo>
                    <a:pt x="1870" y="1688"/>
                  </a:lnTo>
                  <a:cubicBezTo>
                    <a:pt x="1862" y="1712"/>
                    <a:pt x="1860" y="1750"/>
                    <a:pt x="1867" y="1777"/>
                  </a:cubicBezTo>
                  <a:cubicBezTo>
                    <a:pt x="1858" y="1800"/>
                    <a:pt x="1879" y="1825"/>
                    <a:pt x="1839" y="1844"/>
                  </a:cubicBezTo>
                  <a:cubicBezTo>
                    <a:pt x="1828" y="1900"/>
                    <a:pt x="1827" y="1956"/>
                    <a:pt x="1763" y="1992"/>
                  </a:cubicBezTo>
                  <a:cubicBezTo>
                    <a:pt x="1726" y="2060"/>
                    <a:pt x="1497" y="2024"/>
                    <a:pt x="1446" y="2092"/>
                  </a:cubicBezTo>
                  <a:cubicBezTo>
                    <a:pt x="1459" y="2104"/>
                    <a:pt x="1576" y="2100"/>
                    <a:pt x="1591" y="2096"/>
                  </a:cubicBezTo>
                  <a:cubicBezTo>
                    <a:pt x="1613" y="2085"/>
                    <a:pt x="1631" y="2104"/>
                    <a:pt x="1654" y="2103"/>
                  </a:cubicBezTo>
                  <a:cubicBezTo>
                    <a:pt x="1705" y="2103"/>
                    <a:pt x="1767" y="2086"/>
                    <a:pt x="1809" y="2103"/>
                  </a:cubicBezTo>
                  <a:cubicBezTo>
                    <a:pt x="1869" y="2103"/>
                    <a:pt x="1920" y="2105"/>
                    <a:pt x="1974" y="2105"/>
                  </a:cubicBezTo>
                  <a:lnTo>
                    <a:pt x="1974" y="2106"/>
                  </a:ln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1F497D"/>
                </a:solidFill>
              </a:endParaRPr>
            </a:p>
          </p:txBody>
        </p:sp>
        <p:sp>
          <p:nvSpPr>
            <p:cNvPr id="218129" name="Freeform 17"/>
            <p:cNvSpPr>
              <a:spLocks noChangeAspect="1" noEditPoints="1"/>
            </p:cNvSpPr>
            <p:nvPr/>
          </p:nvSpPr>
          <p:spPr bwMode="auto">
            <a:xfrm>
              <a:off x="3235" y="2758"/>
              <a:ext cx="581" cy="570"/>
            </a:xfrm>
            <a:custGeom>
              <a:avLst/>
              <a:gdLst/>
              <a:ahLst/>
              <a:cxnLst>
                <a:cxn ang="0">
                  <a:pos x="321" y="621"/>
                </a:cxn>
                <a:cxn ang="0">
                  <a:pos x="321" y="621"/>
                </a:cxn>
                <a:cxn ang="0">
                  <a:pos x="639" y="307"/>
                </a:cxn>
                <a:cxn ang="0">
                  <a:pos x="321" y="0"/>
                </a:cxn>
                <a:cxn ang="0">
                  <a:pos x="0" y="307"/>
                </a:cxn>
                <a:cxn ang="0">
                  <a:pos x="321" y="621"/>
                </a:cxn>
                <a:cxn ang="0">
                  <a:pos x="321" y="621"/>
                </a:cxn>
                <a:cxn ang="0">
                  <a:pos x="162" y="307"/>
                </a:cxn>
                <a:cxn ang="0">
                  <a:pos x="162" y="307"/>
                </a:cxn>
                <a:cxn ang="0">
                  <a:pos x="321" y="125"/>
                </a:cxn>
                <a:cxn ang="0">
                  <a:pos x="477" y="307"/>
                </a:cxn>
                <a:cxn ang="0">
                  <a:pos x="321" y="495"/>
                </a:cxn>
                <a:cxn ang="0">
                  <a:pos x="162" y="307"/>
                </a:cxn>
              </a:cxnLst>
              <a:rect l="0" t="0" r="r" b="b"/>
              <a:pathLst>
                <a:path w="639" h="621">
                  <a:moveTo>
                    <a:pt x="321" y="621"/>
                  </a:moveTo>
                  <a:lnTo>
                    <a:pt x="321" y="621"/>
                  </a:lnTo>
                  <a:cubicBezTo>
                    <a:pt x="512" y="621"/>
                    <a:pt x="639" y="480"/>
                    <a:pt x="639" y="307"/>
                  </a:cubicBezTo>
                  <a:cubicBezTo>
                    <a:pt x="639" y="124"/>
                    <a:pt x="511" y="0"/>
                    <a:pt x="321" y="0"/>
                  </a:cubicBezTo>
                  <a:cubicBezTo>
                    <a:pt x="130" y="0"/>
                    <a:pt x="0" y="121"/>
                    <a:pt x="0" y="307"/>
                  </a:cubicBezTo>
                  <a:cubicBezTo>
                    <a:pt x="0" y="489"/>
                    <a:pt x="132" y="621"/>
                    <a:pt x="321" y="621"/>
                  </a:cubicBezTo>
                  <a:lnTo>
                    <a:pt x="321" y="621"/>
                  </a:lnTo>
                  <a:close/>
                  <a:moveTo>
                    <a:pt x="162" y="307"/>
                  </a:moveTo>
                  <a:lnTo>
                    <a:pt x="162" y="307"/>
                  </a:lnTo>
                  <a:cubicBezTo>
                    <a:pt x="162" y="198"/>
                    <a:pt x="214" y="125"/>
                    <a:pt x="321" y="125"/>
                  </a:cubicBezTo>
                  <a:cubicBezTo>
                    <a:pt x="425" y="125"/>
                    <a:pt x="477" y="192"/>
                    <a:pt x="477" y="307"/>
                  </a:cubicBezTo>
                  <a:cubicBezTo>
                    <a:pt x="477" y="413"/>
                    <a:pt x="426" y="495"/>
                    <a:pt x="321" y="495"/>
                  </a:cubicBezTo>
                  <a:cubicBezTo>
                    <a:pt x="220" y="495"/>
                    <a:pt x="162" y="415"/>
                    <a:pt x="162" y="307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1F497D"/>
                </a:solidFill>
              </a:endParaRPr>
            </a:p>
          </p:txBody>
        </p:sp>
        <p:sp>
          <p:nvSpPr>
            <p:cNvPr id="218130" name="Freeform 18"/>
            <p:cNvSpPr>
              <a:spLocks noChangeAspect="1"/>
            </p:cNvSpPr>
            <p:nvPr/>
          </p:nvSpPr>
          <p:spPr bwMode="auto">
            <a:xfrm>
              <a:off x="3892" y="2758"/>
              <a:ext cx="409" cy="570"/>
            </a:xfrm>
            <a:custGeom>
              <a:avLst/>
              <a:gdLst/>
              <a:ahLst/>
              <a:cxnLst>
                <a:cxn ang="0">
                  <a:pos x="377" y="128"/>
                </a:cxn>
                <a:cxn ang="0">
                  <a:pos x="377" y="128"/>
                </a:cxn>
                <a:cxn ang="0">
                  <a:pos x="270" y="114"/>
                </a:cxn>
                <a:cxn ang="0">
                  <a:pos x="163" y="160"/>
                </a:cxn>
                <a:cxn ang="0">
                  <a:pos x="290" y="260"/>
                </a:cxn>
                <a:cxn ang="0">
                  <a:pos x="441" y="443"/>
                </a:cxn>
                <a:cxn ang="0">
                  <a:pos x="187" y="621"/>
                </a:cxn>
                <a:cxn ang="0">
                  <a:pos x="11" y="594"/>
                </a:cxn>
                <a:cxn ang="0">
                  <a:pos x="11" y="469"/>
                </a:cxn>
                <a:cxn ang="0">
                  <a:pos x="193" y="506"/>
                </a:cxn>
                <a:cxn ang="0">
                  <a:pos x="279" y="448"/>
                </a:cxn>
                <a:cxn ang="0">
                  <a:pos x="153" y="349"/>
                </a:cxn>
                <a:cxn ang="0">
                  <a:pos x="0" y="160"/>
                </a:cxn>
                <a:cxn ang="0">
                  <a:pos x="243" y="0"/>
                </a:cxn>
                <a:cxn ang="0">
                  <a:pos x="377" y="10"/>
                </a:cxn>
                <a:cxn ang="0">
                  <a:pos x="377" y="128"/>
                </a:cxn>
              </a:cxnLst>
              <a:rect l="0" t="0" r="r" b="b"/>
              <a:pathLst>
                <a:path w="441" h="621">
                  <a:moveTo>
                    <a:pt x="377" y="128"/>
                  </a:moveTo>
                  <a:lnTo>
                    <a:pt x="377" y="128"/>
                  </a:lnTo>
                  <a:cubicBezTo>
                    <a:pt x="341" y="122"/>
                    <a:pt x="306" y="114"/>
                    <a:pt x="270" y="114"/>
                  </a:cubicBezTo>
                  <a:cubicBezTo>
                    <a:pt x="207" y="114"/>
                    <a:pt x="163" y="129"/>
                    <a:pt x="163" y="160"/>
                  </a:cubicBezTo>
                  <a:cubicBezTo>
                    <a:pt x="163" y="195"/>
                    <a:pt x="223" y="224"/>
                    <a:pt x="290" y="260"/>
                  </a:cubicBezTo>
                  <a:cubicBezTo>
                    <a:pt x="353" y="294"/>
                    <a:pt x="441" y="340"/>
                    <a:pt x="441" y="443"/>
                  </a:cubicBezTo>
                  <a:cubicBezTo>
                    <a:pt x="441" y="557"/>
                    <a:pt x="340" y="621"/>
                    <a:pt x="187" y="621"/>
                  </a:cubicBezTo>
                  <a:cubicBezTo>
                    <a:pt x="117" y="621"/>
                    <a:pt x="69" y="607"/>
                    <a:pt x="11" y="594"/>
                  </a:cubicBezTo>
                  <a:lnTo>
                    <a:pt x="11" y="469"/>
                  </a:lnTo>
                  <a:cubicBezTo>
                    <a:pt x="56" y="482"/>
                    <a:pt x="128" y="506"/>
                    <a:pt x="193" y="506"/>
                  </a:cubicBezTo>
                  <a:cubicBezTo>
                    <a:pt x="236" y="506"/>
                    <a:pt x="279" y="487"/>
                    <a:pt x="279" y="448"/>
                  </a:cubicBezTo>
                  <a:cubicBezTo>
                    <a:pt x="279" y="412"/>
                    <a:pt x="227" y="391"/>
                    <a:pt x="153" y="349"/>
                  </a:cubicBezTo>
                  <a:cubicBezTo>
                    <a:pt x="86" y="316"/>
                    <a:pt x="0" y="247"/>
                    <a:pt x="0" y="160"/>
                  </a:cubicBezTo>
                  <a:cubicBezTo>
                    <a:pt x="0" y="57"/>
                    <a:pt x="104" y="0"/>
                    <a:pt x="243" y="0"/>
                  </a:cubicBezTo>
                  <a:cubicBezTo>
                    <a:pt x="288" y="0"/>
                    <a:pt x="333" y="4"/>
                    <a:pt x="377" y="10"/>
                  </a:cubicBezTo>
                  <a:lnTo>
                    <a:pt x="377" y="128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1F497D"/>
                </a:solidFill>
              </a:endParaRPr>
            </a:p>
          </p:txBody>
        </p:sp>
        <p:sp>
          <p:nvSpPr>
            <p:cNvPr id="218131" name="Freeform 19"/>
            <p:cNvSpPr>
              <a:spLocks noChangeAspect="1"/>
            </p:cNvSpPr>
            <p:nvPr/>
          </p:nvSpPr>
          <p:spPr bwMode="auto">
            <a:xfrm>
              <a:off x="1772" y="2564"/>
              <a:ext cx="215" cy="743"/>
            </a:xfrm>
            <a:custGeom>
              <a:avLst/>
              <a:gdLst/>
              <a:ahLst/>
              <a:cxnLst>
                <a:cxn ang="0">
                  <a:pos x="18" y="817"/>
                </a:cxn>
                <a:cxn ang="0">
                  <a:pos x="18" y="817"/>
                </a:cxn>
                <a:cxn ang="0">
                  <a:pos x="24" y="606"/>
                </a:cxn>
                <a:cxn ang="0">
                  <a:pos x="24" y="287"/>
                </a:cxn>
                <a:cxn ang="0">
                  <a:pos x="0" y="0"/>
                </a:cxn>
                <a:cxn ang="0">
                  <a:pos x="211" y="0"/>
                </a:cxn>
                <a:cxn ang="0">
                  <a:pos x="205" y="232"/>
                </a:cxn>
                <a:cxn ang="0">
                  <a:pos x="205" y="530"/>
                </a:cxn>
                <a:cxn ang="0">
                  <a:pos x="229" y="817"/>
                </a:cxn>
                <a:cxn ang="0">
                  <a:pos x="18" y="817"/>
                </a:cxn>
              </a:cxnLst>
              <a:rect l="0" t="0" r="r" b="b"/>
              <a:pathLst>
                <a:path w="229" h="817">
                  <a:moveTo>
                    <a:pt x="18" y="817"/>
                  </a:moveTo>
                  <a:lnTo>
                    <a:pt x="18" y="817"/>
                  </a:lnTo>
                  <a:cubicBezTo>
                    <a:pt x="22" y="750"/>
                    <a:pt x="24" y="699"/>
                    <a:pt x="24" y="606"/>
                  </a:cubicBezTo>
                  <a:lnTo>
                    <a:pt x="24" y="287"/>
                  </a:lnTo>
                  <a:cubicBezTo>
                    <a:pt x="24" y="172"/>
                    <a:pt x="17" y="85"/>
                    <a:pt x="0" y="0"/>
                  </a:cubicBezTo>
                  <a:lnTo>
                    <a:pt x="211" y="0"/>
                  </a:lnTo>
                  <a:cubicBezTo>
                    <a:pt x="211" y="59"/>
                    <a:pt x="205" y="140"/>
                    <a:pt x="205" y="232"/>
                  </a:cubicBezTo>
                  <a:lnTo>
                    <a:pt x="205" y="530"/>
                  </a:lnTo>
                  <a:cubicBezTo>
                    <a:pt x="205" y="614"/>
                    <a:pt x="218" y="739"/>
                    <a:pt x="229" y="817"/>
                  </a:cubicBezTo>
                  <a:lnTo>
                    <a:pt x="18" y="817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1F497D"/>
                </a:solidFill>
              </a:endParaRPr>
            </a:p>
          </p:txBody>
        </p:sp>
        <p:sp>
          <p:nvSpPr>
            <p:cNvPr id="218132" name="Freeform 20"/>
            <p:cNvSpPr>
              <a:spLocks noChangeAspect="1" noEditPoints="1"/>
            </p:cNvSpPr>
            <p:nvPr/>
          </p:nvSpPr>
          <p:spPr bwMode="auto">
            <a:xfrm>
              <a:off x="2095" y="2758"/>
              <a:ext cx="602" cy="785"/>
            </a:xfrm>
            <a:custGeom>
              <a:avLst/>
              <a:gdLst/>
              <a:ahLst/>
              <a:cxnLst>
                <a:cxn ang="0">
                  <a:pos x="210" y="851"/>
                </a:cxn>
                <a:cxn ang="0">
                  <a:pos x="210" y="851"/>
                </a:cxn>
                <a:cxn ang="0">
                  <a:pos x="198" y="632"/>
                </a:cxn>
                <a:cxn ang="0">
                  <a:pos x="198" y="564"/>
                </a:cxn>
                <a:cxn ang="0">
                  <a:pos x="385" y="621"/>
                </a:cxn>
                <a:cxn ang="0">
                  <a:pos x="662" y="322"/>
                </a:cxn>
                <a:cxn ang="0">
                  <a:pos x="378" y="0"/>
                </a:cxn>
                <a:cxn ang="0">
                  <a:pos x="174" y="98"/>
                </a:cxn>
                <a:cxn ang="0">
                  <a:pos x="153" y="15"/>
                </a:cxn>
                <a:cxn ang="0">
                  <a:pos x="0" y="26"/>
                </a:cxn>
                <a:cxn ang="0">
                  <a:pos x="36" y="323"/>
                </a:cxn>
                <a:cxn ang="0">
                  <a:pos x="36" y="564"/>
                </a:cxn>
                <a:cxn ang="0">
                  <a:pos x="12" y="863"/>
                </a:cxn>
                <a:cxn ang="0">
                  <a:pos x="210" y="851"/>
                </a:cxn>
                <a:cxn ang="0">
                  <a:pos x="210" y="851"/>
                </a:cxn>
                <a:cxn ang="0">
                  <a:pos x="186" y="323"/>
                </a:cxn>
                <a:cxn ang="0">
                  <a:pos x="186" y="323"/>
                </a:cxn>
                <a:cxn ang="0">
                  <a:pos x="338" y="125"/>
                </a:cxn>
                <a:cxn ang="0">
                  <a:pos x="500" y="323"/>
                </a:cxn>
                <a:cxn ang="0">
                  <a:pos x="345" y="495"/>
                </a:cxn>
                <a:cxn ang="0">
                  <a:pos x="186" y="323"/>
                </a:cxn>
              </a:cxnLst>
              <a:rect l="0" t="0" r="r" b="b"/>
              <a:pathLst>
                <a:path w="662" h="863">
                  <a:moveTo>
                    <a:pt x="210" y="851"/>
                  </a:moveTo>
                  <a:lnTo>
                    <a:pt x="210" y="851"/>
                  </a:lnTo>
                  <a:cubicBezTo>
                    <a:pt x="198" y="763"/>
                    <a:pt x="198" y="664"/>
                    <a:pt x="198" y="632"/>
                  </a:cubicBezTo>
                  <a:lnTo>
                    <a:pt x="198" y="564"/>
                  </a:lnTo>
                  <a:cubicBezTo>
                    <a:pt x="242" y="589"/>
                    <a:pt x="288" y="621"/>
                    <a:pt x="385" y="621"/>
                  </a:cubicBezTo>
                  <a:cubicBezTo>
                    <a:pt x="550" y="621"/>
                    <a:pt x="662" y="495"/>
                    <a:pt x="662" y="322"/>
                  </a:cubicBezTo>
                  <a:cubicBezTo>
                    <a:pt x="662" y="134"/>
                    <a:pt x="546" y="0"/>
                    <a:pt x="378" y="0"/>
                  </a:cubicBezTo>
                  <a:cubicBezTo>
                    <a:pt x="261" y="0"/>
                    <a:pt x="213" y="56"/>
                    <a:pt x="174" y="98"/>
                  </a:cubicBezTo>
                  <a:cubicBezTo>
                    <a:pt x="166" y="67"/>
                    <a:pt x="162" y="41"/>
                    <a:pt x="153" y="15"/>
                  </a:cubicBezTo>
                  <a:lnTo>
                    <a:pt x="0" y="26"/>
                  </a:lnTo>
                  <a:cubicBezTo>
                    <a:pt x="19" y="127"/>
                    <a:pt x="36" y="220"/>
                    <a:pt x="36" y="323"/>
                  </a:cubicBezTo>
                  <a:lnTo>
                    <a:pt x="36" y="564"/>
                  </a:lnTo>
                  <a:cubicBezTo>
                    <a:pt x="36" y="648"/>
                    <a:pt x="18" y="808"/>
                    <a:pt x="12" y="863"/>
                  </a:cubicBezTo>
                  <a:lnTo>
                    <a:pt x="210" y="851"/>
                  </a:lnTo>
                  <a:lnTo>
                    <a:pt x="210" y="851"/>
                  </a:lnTo>
                  <a:close/>
                  <a:moveTo>
                    <a:pt x="186" y="323"/>
                  </a:moveTo>
                  <a:lnTo>
                    <a:pt x="186" y="323"/>
                  </a:lnTo>
                  <a:cubicBezTo>
                    <a:pt x="186" y="206"/>
                    <a:pt x="236" y="125"/>
                    <a:pt x="338" y="125"/>
                  </a:cubicBezTo>
                  <a:cubicBezTo>
                    <a:pt x="433" y="125"/>
                    <a:pt x="500" y="207"/>
                    <a:pt x="500" y="323"/>
                  </a:cubicBezTo>
                  <a:cubicBezTo>
                    <a:pt x="500" y="426"/>
                    <a:pt x="448" y="495"/>
                    <a:pt x="345" y="495"/>
                  </a:cubicBezTo>
                  <a:cubicBezTo>
                    <a:pt x="244" y="495"/>
                    <a:pt x="186" y="437"/>
                    <a:pt x="186" y="323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1F497D"/>
                </a:solidFill>
              </a:endParaRPr>
            </a:p>
          </p:txBody>
        </p:sp>
        <p:sp>
          <p:nvSpPr>
            <p:cNvPr id="218133" name="Freeform 21"/>
            <p:cNvSpPr>
              <a:spLocks noChangeAspect="1"/>
            </p:cNvSpPr>
            <p:nvPr/>
          </p:nvSpPr>
          <p:spPr bwMode="auto">
            <a:xfrm>
              <a:off x="2773" y="2758"/>
              <a:ext cx="398" cy="570"/>
            </a:xfrm>
            <a:custGeom>
              <a:avLst/>
              <a:gdLst/>
              <a:ahLst/>
              <a:cxnLst>
                <a:cxn ang="0">
                  <a:pos x="364" y="126"/>
                </a:cxn>
                <a:cxn ang="0">
                  <a:pos x="364" y="126"/>
                </a:cxn>
                <a:cxn ang="0">
                  <a:pos x="270" y="114"/>
                </a:cxn>
                <a:cxn ang="0">
                  <a:pos x="162" y="160"/>
                </a:cxn>
                <a:cxn ang="0">
                  <a:pos x="289" y="260"/>
                </a:cxn>
                <a:cxn ang="0">
                  <a:pos x="440" y="443"/>
                </a:cxn>
                <a:cxn ang="0">
                  <a:pos x="186" y="621"/>
                </a:cxn>
                <a:cxn ang="0">
                  <a:pos x="11" y="594"/>
                </a:cxn>
                <a:cxn ang="0">
                  <a:pos x="11" y="469"/>
                </a:cxn>
                <a:cxn ang="0">
                  <a:pos x="192" y="506"/>
                </a:cxn>
                <a:cxn ang="0">
                  <a:pos x="278" y="448"/>
                </a:cxn>
                <a:cxn ang="0">
                  <a:pos x="152" y="349"/>
                </a:cxn>
                <a:cxn ang="0">
                  <a:pos x="0" y="160"/>
                </a:cxn>
                <a:cxn ang="0">
                  <a:pos x="242" y="0"/>
                </a:cxn>
                <a:cxn ang="0">
                  <a:pos x="387" y="12"/>
                </a:cxn>
                <a:cxn ang="0">
                  <a:pos x="364" y="126"/>
                </a:cxn>
              </a:cxnLst>
              <a:rect l="0" t="0" r="r" b="b"/>
              <a:pathLst>
                <a:path w="440" h="621">
                  <a:moveTo>
                    <a:pt x="364" y="126"/>
                  </a:moveTo>
                  <a:lnTo>
                    <a:pt x="364" y="126"/>
                  </a:lnTo>
                  <a:cubicBezTo>
                    <a:pt x="328" y="120"/>
                    <a:pt x="306" y="114"/>
                    <a:pt x="270" y="114"/>
                  </a:cubicBezTo>
                  <a:cubicBezTo>
                    <a:pt x="206" y="114"/>
                    <a:pt x="162" y="129"/>
                    <a:pt x="162" y="160"/>
                  </a:cubicBezTo>
                  <a:cubicBezTo>
                    <a:pt x="162" y="195"/>
                    <a:pt x="222" y="224"/>
                    <a:pt x="289" y="260"/>
                  </a:cubicBezTo>
                  <a:cubicBezTo>
                    <a:pt x="353" y="294"/>
                    <a:pt x="440" y="340"/>
                    <a:pt x="440" y="443"/>
                  </a:cubicBezTo>
                  <a:cubicBezTo>
                    <a:pt x="440" y="557"/>
                    <a:pt x="339" y="621"/>
                    <a:pt x="186" y="621"/>
                  </a:cubicBezTo>
                  <a:cubicBezTo>
                    <a:pt x="116" y="621"/>
                    <a:pt x="68" y="607"/>
                    <a:pt x="11" y="594"/>
                  </a:cubicBezTo>
                  <a:lnTo>
                    <a:pt x="11" y="469"/>
                  </a:lnTo>
                  <a:cubicBezTo>
                    <a:pt x="55" y="482"/>
                    <a:pt x="127" y="506"/>
                    <a:pt x="192" y="506"/>
                  </a:cubicBezTo>
                  <a:cubicBezTo>
                    <a:pt x="235" y="506"/>
                    <a:pt x="278" y="487"/>
                    <a:pt x="278" y="448"/>
                  </a:cubicBezTo>
                  <a:cubicBezTo>
                    <a:pt x="278" y="412"/>
                    <a:pt x="227" y="391"/>
                    <a:pt x="152" y="349"/>
                  </a:cubicBezTo>
                  <a:cubicBezTo>
                    <a:pt x="85" y="316"/>
                    <a:pt x="0" y="247"/>
                    <a:pt x="0" y="160"/>
                  </a:cubicBezTo>
                  <a:cubicBezTo>
                    <a:pt x="0" y="57"/>
                    <a:pt x="103" y="0"/>
                    <a:pt x="242" y="0"/>
                  </a:cubicBezTo>
                  <a:cubicBezTo>
                    <a:pt x="288" y="0"/>
                    <a:pt x="342" y="6"/>
                    <a:pt x="387" y="12"/>
                  </a:cubicBezTo>
                  <a:lnTo>
                    <a:pt x="364" y="126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1F497D"/>
                </a:solidFill>
              </a:endParaRPr>
            </a:p>
          </p:txBody>
        </p:sp>
      </p:grpSp>
      <p:cxnSp>
        <p:nvCxnSpPr>
          <p:cNvPr id="24" name="Straight Connector 23"/>
          <p:cNvCxnSpPr/>
          <p:nvPr userDrawn="1"/>
        </p:nvCxnSpPr>
        <p:spPr bwMode="auto">
          <a:xfrm>
            <a:off x="182872" y="880145"/>
            <a:ext cx="11824701" cy="0"/>
          </a:xfrm>
          <a:prstGeom prst="line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5" name="矩形 24"/>
          <p:cNvSpPr/>
          <p:nvPr userDrawn="1"/>
        </p:nvSpPr>
        <p:spPr bwMode="auto">
          <a:xfrm>
            <a:off x="10595707" y="6201309"/>
            <a:ext cx="936103" cy="65669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buFontTx/>
              <a:buNone/>
            </a:pPr>
            <a:endParaRPr lang="zh-CN" altLang="en-US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Rectangle 23"/>
          <p:cNvSpPr/>
          <p:nvPr userDrawn="1"/>
        </p:nvSpPr>
        <p:spPr>
          <a:xfrm>
            <a:off x="3199498" y="6651723"/>
            <a:ext cx="5524017" cy="397022"/>
          </a:xfrm>
          <a:prstGeom prst="rect">
            <a:avLst/>
          </a:prstGeom>
        </p:spPr>
        <p:txBody>
          <a:bodyPr wrap="square" lIns="91431" tIns="45715" rIns="91431" bIns="45715">
            <a:spAutoFit/>
          </a:bodyPr>
          <a:lstStyle/>
          <a:p>
            <a:pPr algn="ctr">
              <a:defRPr/>
            </a:pPr>
            <a:r>
              <a:rPr lang="en-US" sz="1100" dirty="0">
                <a:solidFill>
                  <a:srgbClr val="1F497D"/>
                </a:solidFill>
              </a:rPr>
              <a:t>china  Skin care  </a:t>
            </a:r>
            <a:r>
              <a:rPr lang="en-US" sz="1100" dirty="0" err="1">
                <a:solidFill>
                  <a:srgbClr val="1F497D"/>
                </a:solidFill>
              </a:rPr>
              <a:t>bHDD</a:t>
            </a:r>
            <a:r>
              <a:rPr lang="en-US" sz="1100" dirty="0">
                <a:solidFill>
                  <a:srgbClr val="1F497D"/>
                </a:solidFill>
              </a:rPr>
              <a:t>  WW150814</a:t>
            </a:r>
          </a:p>
          <a:p>
            <a:pPr algn="ctr"/>
            <a:endParaRPr lang="en-US" sz="1100" dirty="0">
              <a:solidFill>
                <a:srgbClr val="1F497D"/>
              </a:solidFill>
            </a:endParaRPr>
          </a:p>
        </p:txBody>
      </p:sp>
      <p:pic>
        <p:nvPicPr>
          <p:cNvPr id="27" name="Picture 65" descr="Ipsos Marketing MUM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87611" y="6535370"/>
            <a:ext cx="1724209" cy="232708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Calibri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Calibri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Calibri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Calibri" pitchFamily="34" charset="0"/>
        </a:defRPr>
      </a:lvl5pPr>
      <a:lvl6pPr marL="457154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Calibri" pitchFamily="34" charset="0"/>
        </a:defRPr>
      </a:lvl6pPr>
      <a:lvl7pPr marL="914309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Calibri" pitchFamily="34" charset="0"/>
        </a:defRPr>
      </a:lvl7pPr>
      <a:lvl8pPr marL="1371463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Calibri" pitchFamily="34" charset="0"/>
        </a:defRPr>
      </a:lvl8pPr>
      <a:lvl9pPr marL="1828617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Calibri" pitchFamily="34" charset="0"/>
        </a:defRPr>
      </a:lvl9pPr>
    </p:titleStyle>
    <p:bodyStyle>
      <a:lvl1pPr marL="180957" indent="-180957" algn="l" rtl="0" fontAlgn="base">
        <a:lnSpc>
          <a:spcPct val="90000"/>
        </a:lnSpc>
        <a:spcBef>
          <a:spcPct val="5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630176" indent="-268261" algn="l" rtl="0" fontAlgn="base">
        <a:lnSpc>
          <a:spcPct val="90000"/>
        </a:lnSpc>
        <a:spcBef>
          <a:spcPct val="50000"/>
        </a:spcBef>
        <a:spcAft>
          <a:spcPct val="0"/>
        </a:spcAft>
        <a:buFont typeface="Wingdings" pitchFamily="2" charset="2"/>
        <a:buChar char="ð"/>
        <a:defRPr sz="1600">
          <a:solidFill>
            <a:schemeClr val="tx1"/>
          </a:solidFill>
          <a:latin typeface="+mn-lt"/>
        </a:defRPr>
      </a:lvl2pPr>
      <a:lvl3pPr marL="990501" indent="-180957" algn="l" rtl="0" fontAlgn="base">
        <a:lnSpc>
          <a:spcPct val="90000"/>
        </a:lnSpc>
        <a:spcBef>
          <a:spcPct val="50000"/>
        </a:spcBef>
        <a:spcAft>
          <a:spcPct val="0"/>
        </a:spcAft>
        <a:buFont typeface="Calibri" pitchFamily="34" charset="0"/>
        <a:buChar char="̶"/>
        <a:defRPr sz="1500">
          <a:solidFill>
            <a:schemeClr val="tx1"/>
          </a:solidFill>
          <a:latin typeface="+mn-lt"/>
        </a:defRPr>
      </a:lvl3pPr>
      <a:lvl4pPr marL="1442894" indent="-185720" algn="l" rtl="0" fontAlgn="base">
        <a:lnSpc>
          <a:spcPct val="90000"/>
        </a:lnSpc>
        <a:spcBef>
          <a:spcPct val="50000"/>
        </a:spcBef>
        <a:spcAft>
          <a:spcPct val="0"/>
        </a:spcAft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4pPr>
      <a:lvl5pPr marL="1796871" indent="-174608" algn="l" rtl="0" fontAlgn="base">
        <a:lnSpc>
          <a:spcPct val="90000"/>
        </a:lnSpc>
        <a:spcBef>
          <a:spcPct val="50000"/>
        </a:spcBef>
        <a:spcAft>
          <a:spcPct val="0"/>
        </a:spcAft>
        <a:buFont typeface="Wingdings" pitchFamily="2" charset="2"/>
        <a:buChar char="§"/>
        <a:defRPr sz="1100">
          <a:solidFill>
            <a:schemeClr val="tx1"/>
          </a:solidFill>
          <a:latin typeface="+mn-lt"/>
        </a:defRPr>
      </a:lvl5pPr>
      <a:lvl6pPr marL="2254025" indent="-174608" algn="l" rtl="0" fontAlgn="base">
        <a:lnSpc>
          <a:spcPct val="90000"/>
        </a:lnSpc>
        <a:spcBef>
          <a:spcPct val="50000"/>
        </a:spcBef>
        <a:spcAft>
          <a:spcPct val="0"/>
        </a:spcAft>
        <a:buFont typeface="Wingdings" pitchFamily="2" charset="2"/>
        <a:buChar char="§"/>
        <a:defRPr sz="1100">
          <a:solidFill>
            <a:schemeClr val="tx1"/>
          </a:solidFill>
          <a:latin typeface="+mn-lt"/>
        </a:defRPr>
      </a:lvl6pPr>
      <a:lvl7pPr marL="2711180" indent="-174608" algn="l" rtl="0" fontAlgn="base">
        <a:lnSpc>
          <a:spcPct val="90000"/>
        </a:lnSpc>
        <a:spcBef>
          <a:spcPct val="50000"/>
        </a:spcBef>
        <a:spcAft>
          <a:spcPct val="0"/>
        </a:spcAft>
        <a:buFont typeface="Wingdings" pitchFamily="2" charset="2"/>
        <a:buChar char="§"/>
        <a:defRPr sz="1100">
          <a:solidFill>
            <a:schemeClr val="tx1"/>
          </a:solidFill>
          <a:latin typeface="+mn-lt"/>
        </a:defRPr>
      </a:lvl7pPr>
      <a:lvl8pPr marL="3168334" indent="-174608" algn="l" rtl="0" fontAlgn="base">
        <a:lnSpc>
          <a:spcPct val="90000"/>
        </a:lnSpc>
        <a:spcBef>
          <a:spcPct val="50000"/>
        </a:spcBef>
        <a:spcAft>
          <a:spcPct val="0"/>
        </a:spcAft>
        <a:buFont typeface="Wingdings" pitchFamily="2" charset="2"/>
        <a:buChar char="§"/>
        <a:defRPr sz="1100">
          <a:solidFill>
            <a:schemeClr val="tx1"/>
          </a:solidFill>
          <a:latin typeface="+mn-lt"/>
        </a:defRPr>
      </a:lvl8pPr>
      <a:lvl9pPr marL="3625488" indent="-174608" algn="l" rtl="0" fontAlgn="base">
        <a:lnSpc>
          <a:spcPct val="90000"/>
        </a:lnSpc>
        <a:spcBef>
          <a:spcPct val="50000"/>
        </a:spcBef>
        <a:spcAft>
          <a:spcPct val="0"/>
        </a:spcAft>
        <a:buFont typeface="Wingdings" pitchFamily="2" charset="2"/>
        <a:buChar char="§"/>
        <a:defRPr sz="11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11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117457" y="87316"/>
            <a:ext cx="10876135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2181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9841" y="977901"/>
            <a:ext cx="10315290" cy="548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218117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819313" y="6563799"/>
            <a:ext cx="182742" cy="184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buFontTx/>
              <a:buNone/>
              <a:defRPr sz="1200" b="1"/>
            </a:lvl1pPr>
          </a:lstStyle>
          <a:p>
            <a:fld id="{0FE30328-C834-48E7-B9C8-527F9A6C821A}" type="slidenum">
              <a:rPr lang="en-US">
                <a:solidFill>
                  <a:srgbClr val="1F497D"/>
                </a:solidFill>
              </a:rPr>
              <a:pPr/>
              <a:t>‹#›</a:t>
            </a:fld>
            <a:endParaRPr lang="en-US" dirty="0">
              <a:solidFill>
                <a:srgbClr val="1F497D"/>
              </a:solidFill>
            </a:endParaRPr>
          </a:p>
        </p:txBody>
      </p:sp>
      <p:grpSp>
        <p:nvGrpSpPr>
          <p:cNvPr id="218118" name="Group 6"/>
          <p:cNvGrpSpPr>
            <a:grpSpLocks noChangeAspect="1"/>
          </p:cNvGrpSpPr>
          <p:nvPr/>
        </p:nvGrpSpPr>
        <p:grpSpPr bwMode="auto">
          <a:xfrm>
            <a:off x="10725464" y="6317261"/>
            <a:ext cx="696292" cy="468312"/>
            <a:chOff x="1352" y="681"/>
            <a:chExt cx="3519" cy="3153"/>
          </a:xfrm>
        </p:grpSpPr>
        <p:sp>
          <p:nvSpPr>
            <p:cNvPr id="218119" name="Freeform 7"/>
            <p:cNvSpPr>
              <a:spLocks noChangeAspect="1"/>
            </p:cNvSpPr>
            <p:nvPr/>
          </p:nvSpPr>
          <p:spPr bwMode="auto">
            <a:xfrm>
              <a:off x="1352" y="681"/>
              <a:ext cx="3519" cy="3153"/>
            </a:xfrm>
            <a:custGeom>
              <a:avLst/>
              <a:gdLst/>
              <a:ahLst/>
              <a:cxnLst>
                <a:cxn ang="0">
                  <a:pos x="0" y="3449"/>
                </a:cxn>
                <a:cxn ang="0">
                  <a:pos x="0" y="3449"/>
                </a:cxn>
                <a:cxn ang="0">
                  <a:pos x="0" y="0"/>
                </a:cxn>
                <a:cxn ang="0">
                  <a:pos x="3696" y="0"/>
                </a:cxn>
                <a:cxn ang="0">
                  <a:pos x="3327" y="3449"/>
                </a:cxn>
                <a:cxn ang="0">
                  <a:pos x="0" y="3449"/>
                </a:cxn>
              </a:cxnLst>
              <a:rect l="0" t="0" r="r" b="b"/>
              <a:pathLst>
                <a:path w="3862" h="3449">
                  <a:moveTo>
                    <a:pt x="0" y="3449"/>
                  </a:moveTo>
                  <a:lnTo>
                    <a:pt x="0" y="3449"/>
                  </a:lnTo>
                  <a:lnTo>
                    <a:pt x="0" y="0"/>
                  </a:lnTo>
                  <a:lnTo>
                    <a:pt x="3696" y="0"/>
                  </a:lnTo>
                  <a:cubicBezTo>
                    <a:pt x="3862" y="1150"/>
                    <a:pt x="3797" y="2241"/>
                    <a:pt x="3327" y="3449"/>
                  </a:cubicBezTo>
                  <a:lnTo>
                    <a:pt x="0" y="3449"/>
                  </a:lnTo>
                  <a:close/>
                </a:path>
              </a:pathLst>
            </a:custGeom>
            <a:solidFill>
              <a:srgbClr val="009D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800" dirty="0">
                <a:solidFill>
                  <a:srgbClr val="1F497D"/>
                </a:solidFill>
              </a:endParaRPr>
            </a:p>
          </p:txBody>
        </p:sp>
        <p:sp>
          <p:nvSpPr>
            <p:cNvPr id="218120" name="Freeform 8"/>
            <p:cNvSpPr>
              <a:spLocks noChangeAspect="1"/>
            </p:cNvSpPr>
            <p:nvPr/>
          </p:nvSpPr>
          <p:spPr bwMode="auto">
            <a:xfrm>
              <a:off x="2708" y="1843"/>
              <a:ext cx="75" cy="54"/>
            </a:xfrm>
            <a:custGeom>
              <a:avLst/>
              <a:gdLst/>
              <a:ahLst/>
              <a:cxnLst>
                <a:cxn ang="0">
                  <a:pos x="16" y="40"/>
                </a:cxn>
                <a:cxn ang="0">
                  <a:pos x="16" y="40"/>
                </a:cxn>
                <a:cxn ang="0">
                  <a:pos x="0" y="54"/>
                </a:cxn>
                <a:cxn ang="0">
                  <a:pos x="79" y="22"/>
                </a:cxn>
                <a:cxn ang="0">
                  <a:pos x="81" y="0"/>
                </a:cxn>
                <a:cxn ang="0">
                  <a:pos x="16" y="40"/>
                </a:cxn>
              </a:cxnLst>
              <a:rect l="0" t="0" r="r" b="b"/>
              <a:pathLst>
                <a:path w="81" h="66">
                  <a:moveTo>
                    <a:pt x="16" y="40"/>
                  </a:moveTo>
                  <a:lnTo>
                    <a:pt x="16" y="40"/>
                  </a:lnTo>
                  <a:lnTo>
                    <a:pt x="0" y="54"/>
                  </a:lnTo>
                  <a:cubicBezTo>
                    <a:pt x="35" y="66"/>
                    <a:pt x="72" y="42"/>
                    <a:pt x="79" y="22"/>
                  </a:cubicBezTo>
                  <a:lnTo>
                    <a:pt x="81" y="0"/>
                  </a:lnTo>
                  <a:cubicBezTo>
                    <a:pt x="54" y="6"/>
                    <a:pt x="27" y="19"/>
                    <a:pt x="16" y="40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800" dirty="0">
                <a:solidFill>
                  <a:srgbClr val="1F497D"/>
                </a:solidFill>
              </a:endParaRPr>
            </a:p>
          </p:txBody>
        </p:sp>
        <p:sp>
          <p:nvSpPr>
            <p:cNvPr id="218121" name="Freeform 9"/>
            <p:cNvSpPr>
              <a:spLocks noChangeAspect="1"/>
            </p:cNvSpPr>
            <p:nvPr/>
          </p:nvSpPr>
          <p:spPr bwMode="auto">
            <a:xfrm>
              <a:off x="2869" y="1972"/>
              <a:ext cx="65" cy="54"/>
            </a:xfrm>
            <a:custGeom>
              <a:avLst/>
              <a:gdLst/>
              <a:ahLst/>
              <a:cxnLst>
                <a:cxn ang="0">
                  <a:pos x="27" y="1"/>
                </a:cxn>
                <a:cxn ang="0">
                  <a:pos x="27" y="1"/>
                </a:cxn>
                <a:cxn ang="0">
                  <a:pos x="0" y="0"/>
                </a:cxn>
                <a:cxn ang="0">
                  <a:pos x="33" y="58"/>
                </a:cxn>
                <a:cxn ang="0">
                  <a:pos x="53" y="63"/>
                </a:cxn>
                <a:cxn ang="0">
                  <a:pos x="27" y="1"/>
                </a:cxn>
              </a:cxnLst>
              <a:rect l="0" t="0" r="r" b="b"/>
              <a:pathLst>
                <a:path w="81" h="63">
                  <a:moveTo>
                    <a:pt x="27" y="1"/>
                  </a:moveTo>
                  <a:lnTo>
                    <a:pt x="27" y="1"/>
                  </a:lnTo>
                  <a:lnTo>
                    <a:pt x="0" y="0"/>
                  </a:lnTo>
                  <a:cubicBezTo>
                    <a:pt x="0" y="24"/>
                    <a:pt x="8" y="43"/>
                    <a:pt x="33" y="58"/>
                  </a:cubicBezTo>
                  <a:lnTo>
                    <a:pt x="53" y="63"/>
                  </a:lnTo>
                  <a:cubicBezTo>
                    <a:pt x="81" y="39"/>
                    <a:pt x="44" y="15"/>
                    <a:pt x="27" y="1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800" dirty="0">
                <a:solidFill>
                  <a:srgbClr val="1F497D"/>
                </a:solidFill>
              </a:endParaRPr>
            </a:p>
          </p:txBody>
        </p:sp>
        <p:sp>
          <p:nvSpPr>
            <p:cNvPr id="218122" name="Freeform 10"/>
            <p:cNvSpPr>
              <a:spLocks noChangeAspect="1"/>
            </p:cNvSpPr>
            <p:nvPr/>
          </p:nvSpPr>
          <p:spPr bwMode="auto">
            <a:xfrm>
              <a:off x="2622" y="1413"/>
              <a:ext cx="86" cy="75"/>
            </a:xfrm>
            <a:custGeom>
              <a:avLst/>
              <a:gdLst/>
              <a:ahLst/>
              <a:cxnLst>
                <a:cxn ang="0">
                  <a:pos x="20" y="50"/>
                </a:cxn>
                <a:cxn ang="0">
                  <a:pos x="20" y="50"/>
                </a:cxn>
                <a:cxn ang="0">
                  <a:pos x="0" y="64"/>
                </a:cxn>
                <a:cxn ang="0">
                  <a:pos x="89" y="27"/>
                </a:cxn>
                <a:cxn ang="0">
                  <a:pos x="96" y="0"/>
                </a:cxn>
                <a:cxn ang="0">
                  <a:pos x="20" y="50"/>
                </a:cxn>
              </a:cxnLst>
              <a:rect l="0" t="0" r="r" b="b"/>
              <a:pathLst>
                <a:path w="96" h="79">
                  <a:moveTo>
                    <a:pt x="20" y="50"/>
                  </a:moveTo>
                  <a:lnTo>
                    <a:pt x="20" y="50"/>
                  </a:lnTo>
                  <a:lnTo>
                    <a:pt x="0" y="64"/>
                  </a:lnTo>
                  <a:cubicBezTo>
                    <a:pt x="41" y="79"/>
                    <a:pt x="75" y="57"/>
                    <a:pt x="89" y="27"/>
                  </a:cubicBezTo>
                  <a:lnTo>
                    <a:pt x="96" y="0"/>
                  </a:lnTo>
                  <a:cubicBezTo>
                    <a:pt x="63" y="8"/>
                    <a:pt x="38" y="8"/>
                    <a:pt x="20" y="50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800" dirty="0">
                <a:solidFill>
                  <a:srgbClr val="1F497D"/>
                </a:solidFill>
              </a:endParaRPr>
            </a:p>
          </p:txBody>
        </p:sp>
        <p:sp>
          <p:nvSpPr>
            <p:cNvPr id="218123" name="Freeform 11"/>
            <p:cNvSpPr>
              <a:spLocks noChangeAspect="1"/>
            </p:cNvSpPr>
            <p:nvPr/>
          </p:nvSpPr>
          <p:spPr bwMode="auto">
            <a:xfrm>
              <a:off x="2568" y="1563"/>
              <a:ext cx="75" cy="76"/>
            </a:xfrm>
            <a:custGeom>
              <a:avLst/>
              <a:gdLst/>
              <a:ahLst/>
              <a:cxnLst>
                <a:cxn ang="0">
                  <a:pos x="77" y="22"/>
                </a:cxn>
                <a:cxn ang="0">
                  <a:pos x="77" y="22"/>
                </a:cxn>
                <a:cxn ang="0">
                  <a:pos x="71" y="0"/>
                </a:cxn>
                <a:cxn ang="0">
                  <a:pos x="0" y="44"/>
                </a:cxn>
                <a:cxn ang="0">
                  <a:pos x="0" y="62"/>
                </a:cxn>
                <a:cxn ang="0">
                  <a:pos x="77" y="22"/>
                </a:cxn>
              </a:cxnLst>
              <a:rect l="0" t="0" r="r" b="b"/>
              <a:pathLst>
                <a:path w="77" h="77">
                  <a:moveTo>
                    <a:pt x="77" y="22"/>
                  </a:moveTo>
                  <a:lnTo>
                    <a:pt x="77" y="22"/>
                  </a:lnTo>
                  <a:lnTo>
                    <a:pt x="71" y="0"/>
                  </a:lnTo>
                  <a:cubicBezTo>
                    <a:pt x="38" y="7"/>
                    <a:pt x="14" y="19"/>
                    <a:pt x="0" y="44"/>
                  </a:cubicBezTo>
                  <a:lnTo>
                    <a:pt x="0" y="62"/>
                  </a:lnTo>
                  <a:cubicBezTo>
                    <a:pt x="42" y="77"/>
                    <a:pt x="64" y="40"/>
                    <a:pt x="77" y="22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800" dirty="0">
                <a:solidFill>
                  <a:srgbClr val="1F497D"/>
                </a:solidFill>
              </a:endParaRPr>
            </a:p>
          </p:txBody>
        </p:sp>
        <p:sp>
          <p:nvSpPr>
            <p:cNvPr id="218124" name="Freeform 12"/>
            <p:cNvSpPr>
              <a:spLocks noChangeAspect="1"/>
            </p:cNvSpPr>
            <p:nvPr/>
          </p:nvSpPr>
          <p:spPr bwMode="auto">
            <a:xfrm>
              <a:off x="2547" y="1725"/>
              <a:ext cx="86" cy="64"/>
            </a:xfrm>
            <a:custGeom>
              <a:avLst/>
              <a:gdLst/>
              <a:ahLst/>
              <a:cxnLst>
                <a:cxn ang="0">
                  <a:pos x="0" y="52"/>
                </a:cxn>
                <a:cxn ang="0">
                  <a:pos x="0" y="52"/>
                </a:cxn>
                <a:cxn ang="0">
                  <a:pos x="14" y="60"/>
                </a:cxn>
                <a:cxn ang="0">
                  <a:pos x="73" y="23"/>
                </a:cxn>
                <a:cxn ang="0">
                  <a:pos x="90" y="8"/>
                </a:cxn>
                <a:cxn ang="0">
                  <a:pos x="0" y="52"/>
                </a:cxn>
              </a:cxnLst>
              <a:rect l="0" t="0" r="r" b="b"/>
              <a:pathLst>
                <a:path w="90" h="74">
                  <a:moveTo>
                    <a:pt x="0" y="52"/>
                  </a:moveTo>
                  <a:lnTo>
                    <a:pt x="0" y="52"/>
                  </a:lnTo>
                  <a:lnTo>
                    <a:pt x="14" y="60"/>
                  </a:lnTo>
                  <a:cubicBezTo>
                    <a:pt x="59" y="74"/>
                    <a:pt x="62" y="38"/>
                    <a:pt x="73" y="23"/>
                  </a:cubicBezTo>
                  <a:lnTo>
                    <a:pt x="90" y="8"/>
                  </a:lnTo>
                  <a:cubicBezTo>
                    <a:pt x="48" y="0"/>
                    <a:pt x="11" y="31"/>
                    <a:pt x="0" y="52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800" dirty="0">
                <a:solidFill>
                  <a:srgbClr val="1F497D"/>
                </a:solidFill>
              </a:endParaRPr>
            </a:p>
          </p:txBody>
        </p:sp>
        <p:sp>
          <p:nvSpPr>
            <p:cNvPr id="218125" name="Freeform 13"/>
            <p:cNvSpPr>
              <a:spLocks noChangeAspect="1"/>
            </p:cNvSpPr>
            <p:nvPr/>
          </p:nvSpPr>
          <p:spPr bwMode="auto">
            <a:xfrm>
              <a:off x="2773" y="1176"/>
              <a:ext cx="86" cy="75"/>
            </a:xfrm>
            <a:custGeom>
              <a:avLst/>
              <a:gdLst/>
              <a:ahLst/>
              <a:cxnLst>
                <a:cxn ang="0">
                  <a:pos x="16" y="4"/>
                </a:cxn>
                <a:cxn ang="0">
                  <a:pos x="16" y="4"/>
                </a:cxn>
                <a:cxn ang="0">
                  <a:pos x="0" y="12"/>
                </a:cxn>
                <a:cxn ang="0">
                  <a:pos x="86" y="49"/>
                </a:cxn>
                <a:cxn ang="0">
                  <a:pos x="88" y="22"/>
                </a:cxn>
                <a:cxn ang="0">
                  <a:pos x="16" y="4"/>
                </a:cxn>
              </a:cxnLst>
              <a:rect l="0" t="0" r="r" b="b"/>
              <a:pathLst>
                <a:path w="88" h="72">
                  <a:moveTo>
                    <a:pt x="16" y="4"/>
                  </a:moveTo>
                  <a:lnTo>
                    <a:pt x="16" y="4"/>
                  </a:lnTo>
                  <a:lnTo>
                    <a:pt x="0" y="12"/>
                  </a:lnTo>
                  <a:cubicBezTo>
                    <a:pt x="4" y="40"/>
                    <a:pt x="70" y="72"/>
                    <a:pt x="86" y="49"/>
                  </a:cubicBezTo>
                  <a:lnTo>
                    <a:pt x="88" y="22"/>
                  </a:lnTo>
                  <a:cubicBezTo>
                    <a:pt x="67" y="8"/>
                    <a:pt x="45" y="0"/>
                    <a:pt x="16" y="4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800" dirty="0">
                <a:solidFill>
                  <a:srgbClr val="1F497D"/>
                </a:solidFill>
              </a:endParaRPr>
            </a:p>
          </p:txBody>
        </p:sp>
        <p:sp>
          <p:nvSpPr>
            <p:cNvPr id="218126" name="Freeform 14"/>
            <p:cNvSpPr>
              <a:spLocks noChangeAspect="1"/>
            </p:cNvSpPr>
            <p:nvPr/>
          </p:nvSpPr>
          <p:spPr bwMode="auto">
            <a:xfrm>
              <a:off x="2955" y="1111"/>
              <a:ext cx="76" cy="87"/>
            </a:xfrm>
            <a:custGeom>
              <a:avLst/>
              <a:gdLst/>
              <a:ahLst/>
              <a:cxnLst>
                <a:cxn ang="0">
                  <a:pos x="46" y="7"/>
                </a:cxn>
                <a:cxn ang="0">
                  <a:pos x="46" y="7"/>
                </a:cxn>
                <a:cxn ang="0">
                  <a:pos x="21" y="0"/>
                </a:cxn>
                <a:cxn ang="0">
                  <a:pos x="14" y="66"/>
                </a:cxn>
                <a:cxn ang="0">
                  <a:pos x="27" y="92"/>
                </a:cxn>
                <a:cxn ang="0">
                  <a:pos x="46" y="7"/>
                </a:cxn>
              </a:cxnLst>
              <a:rect l="0" t="0" r="r" b="b"/>
              <a:pathLst>
                <a:path w="86" h="92">
                  <a:moveTo>
                    <a:pt x="46" y="7"/>
                  </a:moveTo>
                  <a:lnTo>
                    <a:pt x="46" y="7"/>
                  </a:lnTo>
                  <a:lnTo>
                    <a:pt x="21" y="0"/>
                  </a:lnTo>
                  <a:cubicBezTo>
                    <a:pt x="7" y="19"/>
                    <a:pt x="0" y="33"/>
                    <a:pt x="14" y="66"/>
                  </a:cubicBezTo>
                  <a:lnTo>
                    <a:pt x="27" y="92"/>
                  </a:lnTo>
                  <a:cubicBezTo>
                    <a:pt x="57" y="63"/>
                    <a:pt x="86" y="36"/>
                    <a:pt x="46" y="7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800" dirty="0">
                <a:solidFill>
                  <a:srgbClr val="1F497D"/>
                </a:solidFill>
              </a:endParaRPr>
            </a:p>
          </p:txBody>
        </p:sp>
        <p:sp>
          <p:nvSpPr>
            <p:cNvPr id="218127" name="Freeform 15"/>
            <p:cNvSpPr>
              <a:spLocks noChangeAspect="1" noEditPoints="1"/>
            </p:cNvSpPr>
            <p:nvPr/>
          </p:nvSpPr>
          <p:spPr bwMode="auto">
            <a:xfrm>
              <a:off x="3149" y="929"/>
              <a:ext cx="667" cy="1678"/>
            </a:xfrm>
            <a:custGeom>
              <a:avLst/>
              <a:gdLst/>
              <a:ahLst/>
              <a:cxnLst>
                <a:cxn ang="0">
                  <a:pos x="451" y="808"/>
                </a:cxn>
                <a:cxn ang="0">
                  <a:pos x="451" y="808"/>
                </a:cxn>
                <a:cxn ang="0">
                  <a:pos x="326" y="776"/>
                </a:cxn>
                <a:cxn ang="0">
                  <a:pos x="477" y="746"/>
                </a:cxn>
                <a:cxn ang="0">
                  <a:pos x="493" y="773"/>
                </a:cxn>
                <a:cxn ang="0">
                  <a:pos x="451" y="808"/>
                </a:cxn>
                <a:cxn ang="0">
                  <a:pos x="451" y="808"/>
                </a:cxn>
                <a:cxn ang="0">
                  <a:pos x="639" y="841"/>
                </a:cxn>
                <a:cxn ang="0">
                  <a:pos x="639" y="841"/>
                </a:cxn>
                <a:cxn ang="0">
                  <a:pos x="601" y="701"/>
                </a:cxn>
                <a:cxn ang="0">
                  <a:pos x="634" y="646"/>
                </a:cxn>
                <a:cxn ang="0">
                  <a:pos x="627" y="477"/>
                </a:cxn>
                <a:cxn ang="0">
                  <a:pos x="641" y="463"/>
                </a:cxn>
                <a:cxn ang="0">
                  <a:pos x="627" y="414"/>
                </a:cxn>
                <a:cxn ang="0">
                  <a:pos x="615" y="342"/>
                </a:cxn>
                <a:cxn ang="0">
                  <a:pos x="590" y="286"/>
                </a:cxn>
                <a:cxn ang="0">
                  <a:pos x="602" y="260"/>
                </a:cxn>
                <a:cxn ang="0">
                  <a:pos x="560" y="236"/>
                </a:cxn>
                <a:cxn ang="0">
                  <a:pos x="523" y="213"/>
                </a:cxn>
                <a:cxn ang="0">
                  <a:pos x="514" y="180"/>
                </a:cxn>
                <a:cxn ang="0">
                  <a:pos x="483" y="195"/>
                </a:cxn>
                <a:cxn ang="0">
                  <a:pos x="476" y="154"/>
                </a:cxn>
                <a:cxn ang="0">
                  <a:pos x="434" y="171"/>
                </a:cxn>
                <a:cxn ang="0">
                  <a:pos x="411" y="119"/>
                </a:cxn>
                <a:cxn ang="0">
                  <a:pos x="389" y="124"/>
                </a:cxn>
                <a:cxn ang="0">
                  <a:pos x="356" y="150"/>
                </a:cxn>
                <a:cxn ang="0">
                  <a:pos x="356" y="101"/>
                </a:cxn>
                <a:cxn ang="0">
                  <a:pos x="341" y="93"/>
                </a:cxn>
                <a:cxn ang="0">
                  <a:pos x="314" y="81"/>
                </a:cxn>
                <a:cxn ang="0">
                  <a:pos x="276" y="97"/>
                </a:cxn>
                <a:cxn ang="0">
                  <a:pos x="292" y="51"/>
                </a:cxn>
                <a:cxn ang="0">
                  <a:pos x="244" y="106"/>
                </a:cxn>
                <a:cxn ang="0">
                  <a:pos x="216" y="112"/>
                </a:cxn>
                <a:cxn ang="0">
                  <a:pos x="266" y="43"/>
                </a:cxn>
                <a:cxn ang="0">
                  <a:pos x="214" y="91"/>
                </a:cxn>
                <a:cxn ang="0">
                  <a:pos x="173" y="98"/>
                </a:cxn>
                <a:cxn ang="0">
                  <a:pos x="186" y="38"/>
                </a:cxn>
                <a:cxn ang="0">
                  <a:pos x="173" y="69"/>
                </a:cxn>
                <a:cxn ang="0">
                  <a:pos x="166" y="36"/>
                </a:cxn>
                <a:cxn ang="0">
                  <a:pos x="142" y="114"/>
                </a:cxn>
                <a:cxn ang="0">
                  <a:pos x="126" y="39"/>
                </a:cxn>
                <a:cxn ang="0">
                  <a:pos x="80" y="112"/>
                </a:cxn>
                <a:cxn ang="0">
                  <a:pos x="56" y="117"/>
                </a:cxn>
                <a:cxn ang="0">
                  <a:pos x="37" y="43"/>
                </a:cxn>
                <a:cxn ang="0">
                  <a:pos x="5" y="1808"/>
                </a:cxn>
                <a:cxn ang="0">
                  <a:pos x="0" y="1840"/>
                </a:cxn>
                <a:cxn ang="0">
                  <a:pos x="162" y="1823"/>
                </a:cxn>
                <a:cxn ang="0">
                  <a:pos x="529" y="1842"/>
                </a:cxn>
                <a:cxn ang="0">
                  <a:pos x="614" y="1829"/>
                </a:cxn>
                <a:cxn ang="0">
                  <a:pos x="421" y="1778"/>
                </a:cxn>
                <a:cxn ang="0">
                  <a:pos x="272" y="1664"/>
                </a:cxn>
                <a:cxn ang="0">
                  <a:pos x="237" y="1566"/>
                </a:cxn>
                <a:cxn ang="0">
                  <a:pos x="239" y="1432"/>
                </a:cxn>
                <a:cxn ang="0">
                  <a:pos x="315" y="1404"/>
                </a:cxn>
                <a:cxn ang="0">
                  <a:pos x="586" y="1387"/>
                </a:cxn>
                <a:cxn ang="0">
                  <a:pos x="605" y="1286"/>
                </a:cxn>
                <a:cxn ang="0">
                  <a:pos x="609" y="1223"/>
                </a:cxn>
                <a:cxn ang="0">
                  <a:pos x="630" y="1174"/>
                </a:cxn>
                <a:cxn ang="0">
                  <a:pos x="590" y="1133"/>
                </a:cxn>
                <a:cxn ang="0">
                  <a:pos x="650" y="1082"/>
                </a:cxn>
                <a:cxn ang="0">
                  <a:pos x="621" y="1018"/>
                </a:cxn>
                <a:cxn ang="0">
                  <a:pos x="704" y="959"/>
                </a:cxn>
                <a:cxn ang="0">
                  <a:pos x="639" y="841"/>
                </a:cxn>
              </a:cxnLst>
              <a:rect l="0" t="0" r="r" b="b"/>
              <a:pathLst>
                <a:path w="724" h="1845">
                  <a:moveTo>
                    <a:pt x="451" y="808"/>
                  </a:moveTo>
                  <a:lnTo>
                    <a:pt x="451" y="808"/>
                  </a:lnTo>
                  <a:cubicBezTo>
                    <a:pt x="397" y="820"/>
                    <a:pt x="315" y="783"/>
                    <a:pt x="326" y="776"/>
                  </a:cubicBezTo>
                  <a:cubicBezTo>
                    <a:pt x="353" y="757"/>
                    <a:pt x="416" y="725"/>
                    <a:pt x="477" y="746"/>
                  </a:cubicBezTo>
                  <a:cubicBezTo>
                    <a:pt x="488" y="750"/>
                    <a:pt x="492" y="760"/>
                    <a:pt x="493" y="773"/>
                  </a:cubicBezTo>
                  <a:cubicBezTo>
                    <a:pt x="496" y="804"/>
                    <a:pt x="471" y="805"/>
                    <a:pt x="451" y="808"/>
                  </a:cubicBezTo>
                  <a:lnTo>
                    <a:pt x="451" y="808"/>
                  </a:lnTo>
                  <a:close/>
                  <a:moveTo>
                    <a:pt x="639" y="841"/>
                  </a:moveTo>
                  <a:lnTo>
                    <a:pt x="639" y="841"/>
                  </a:lnTo>
                  <a:cubicBezTo>
                    <a:pt x="610" y="803"/>
                    <a:pt x="557" y="751"/>
                    <a:pt x="601" y="701"/>
                  </a:cubicBezTo>
                  <a:cubicBezTo>
                    <a:pt x="624" y="684"/>
                    <a:pt x="631" y="670"/>
                    <a:pt x="634" y="646"/>
                  </a:cubicBezTo>
                  <a:cubicBezTo>
                    <a:pt x="644" y="560"/>
                    <a:pt x="639" y="524"/>
                    <a:pt x="627" y="477"/>
                  </a:cubicBezTo>
                  <a:cubicBezTo>
                    <a:pt x="629" y="473"/>
                    <a:pt x="638" y="478"/>
                    <a:pt x="641" y="463"/>
                  </a:cubicBezTo>
                  <a:cubicBezTo>
                    <a:pt x="650" y="422"/>
                    <a:pt x="627" y="414"/>
                    <a:pt x="627" y="414"/>
                  </a:cubicBezTo>
                  <a:cubicBezTo>
                    <a:pt x="645" y="399"/>
                    <a:pt x="643" y="342"/>
                    <a:pt x="615" y="342"/>
                  </a:cubicBezTo>
                  <a:cubicBezTo>
                    <a:pt x="631" y="317"/>
                    <a:pt x="617" y="277"/>
                    <a:pt x="590" y="286"/>
                  </a:cubicBezTo>
                  <a:cubicBezTo>
                    <a:pt x="590" y="286"/>
                    <a:pt x="604" y="278"/>
                    <a:pt x="602" y="260"/>
                  </a:cubicBezTo>
                  <a:cubicBezTo>
                    <a:pt x="599" y="224"/>
                    <a:pt x="547" y="259"/>
                    <a:pt x="560" y="236"/>
                  </a:cubicBezTo>
                  <a:cubicBezTo>
                    <a:pt x="567" y="223"/>
                    <a:pt x="538" y="180"/>
                    <a:pt x="523" y="213"/>
                  </a:cubicBezTo>
                  <a:cubicBezTo>
                    <a:pt x="515" y="207"/>
                    <a:pt x="529" y="187"/>
                    <a:pt x="514" y="180"/>
                  </a:cubicBezTo>
                  <a:cubicBezTo>
                    <a:pt x="504" y="181"/>
                    <a:pt x="495" y="188"/>
                    <a:pt x="483" y="195"/>
                  </a:cubicBezTo>
                  <a:cubicBezTo>
                    <a:pt x="479" y="181"/>
                    <a:pt x="494" y="174"/>
                    <a:pt x="476" y="154"/>
                  </a:cubicBezTo>
                  <a:cubicBezTo>
                    <a:pt x="452" y="138"/>
                    <a:pt x="451" y="162"/>
                    <a:pt x="434" y="171"/>
                  </a:cubicBezTo>
                  <a:cubicBezTo>
                    <a:pt x="404" y="164"/>
                    <a:pt x="476" y="146"/>
                    <a:pt x="411" y="119"/>
                  </a:cubicBezTo>
                  <a:cubicBezTo>
                    <a:pt x="395" y="159"/>
                    <a:pt x="396" y="130"/>
                    <a:pt x="389" y="124"/>
                  </a:cubicBezTo>
                  <a:cubicBezTo>
                    <a:pt x="384" y="121"/>
                    <a:pt x="375" y="131"/>
                    <a:pt x="356" y="150"/>
                  </a:cubicBezTo>
                  <a:cubicBezTo>
                    <a:pt x="366" y="124"/>
                    <a:pt x="388" y="92"/>
                    <a:pt x="356" y="101"/>
                  </a:cubicBezTo>
                  <a:cubicBezTo>
                    <a:pt x="320" y="117"/>
                    <a:pt x="341" y="96"/>
                    <a:pt x="341" y="93"/>
                  </a:cubicBezTo>
                  <a:cubicBezTo>
                    <a:pt x="372" y="79"/>
                    <a:pt x="312" y="45"/>
                    <a:pt x="314" y="81"/>
                  </a:cubicBezTo>
                  <a:cubicBezTo>
                    <a:pt x="313" y="105"/>
                    <a:pt x="261" y="126"/>
                    <a:pt x="276" y="97"/>
                  </a:cubicBezTo>
                  <a:cubicBezTo>
                    <a:pt x="286" y="60"/>
                    <a:pt x="331" y="116"/>
                    <a:pt x="292" y="51"/>
                  </a:cubicBezTo>
                  <a:cubicBezTo>
                    <a:pt x="268" y="78"/>
                    <a:pt x="248" y="96"/>
                    <a:pt x="244" y="106"/>
                  </a:cubicBezTo>
                  <a:cubicBezTo>
                    <a:pt x="225" y="181"/>
                    <a:pt x="236" y="113"/>
                    <a:pt x="216" y="112"/>
                  </a:cubicBezTo>
                  <a:cubicBezTo>
                    <a:pt x="242" y="94"/>
                    <a:pt x="276" y="63"/>
                    <a:pt x="266" y="43"/>
                  </a:cubicBezTo>
                  <a:cubicBezTo>
                    <a:pt x="237" y="41"/>
                    <a:pt x="172" y="87"/>
                    <a:pt x="214" y="91"/>
                  </a:cubicBezTo>
                  <a:cubicBezTo>
                    <a:pt x="211" y="106"/>
                    <a:pt x="187" y="123"/>
                    <a:pt x="173" y="98"/>
                  </a:cubicBezTo>
                  <a:cubicBezTo>
                    <a:pt x="196" y="92"/>
                    <a:pt x="235" y="15"/>
                    <a:pt x="186" y="38"/>
                  </a:cubicBezTo>
                  <a:cubicBezTo>
                    <a:pt x="181" y="42"/>
                    <a:pt x="181" y="56"/>
                    <a:pt x="173" y="69"/>
                  </a:cubicBezTo>
                  <a:cubicBezTo>
                    <a:pt x="161" y="58"/>
                    <a:pt x="170" y="42"/>
                    <a:pt x="166" y="36"/>
                  </a:cubicBezTo>
                  <a:cubicBezTo>
                    <a:pt x="127" y="0"/>
                    <a:pt x="141" y="93"/>
                    <a:pt x="142" y="114"/>
                  </a:cubicBezTo>
                  <a:cubicBezTo>
                    <a:pt x="92" y="82"/>
                    <a:pt x="139" y="91"/>
                    <a:pt x="126" y="39"/>
                  </a:cubicBezTo>
                  <a:cubicBezTo>
                    <a:pt x="84" y="47"/>
                    <a:pt x="73" y="64"/>
                    <a:pt x="80" y="112"/>
                  </a:cubicBezTo>
                  <a:cubicBezTo>
                    <a:pt x="74" y="123"/>
                    <a:pt x="63" y="149"/>
                    <a:pt x="56" y="117"/>
                  </a:cubicBezTo>
                  <a:cubicBezTo>
                    <a:pt x="79" y="87"/>
                    <a:pt x="77" y="44"/>
                    <a:pt x="37" y="43"/>
                  </a:cubicBezTo>
                  <a:cubicBezTo>
                    <a:pt x="101" y="631"/>
                    <a:pt x="97" y="1225"/>
                    <a:pt x="5" y="1808"/>
                  </a:cubicBezTo>
                  <a:lnTo>
                    <a:pt x="0" y="1840"/>
                  </a:lnTo>
                  <a:cubicBezTo>
                    <a:pt x="46" y="1839"/>
                    <a:pt x="113" y="1825"/>
                    <a:pt x="162" y="1823"/>
                  </a:cubicBezTo>
                  <a:cubicBezTo>
                    <a:pt x="301" y="1827"/>
                    <a:pt x="298" y="1845"/>
                    <a:pt x="529" y="1842"/>
                  </a:cubicBezTo>
                  <a:cubicBezTo>
                    <a:pt x="582" y="1837"/>
                    <a:pt x="597" y="1829"/>
                    <a:pt x="614" y="1829"/>
                  </a:cubicBezTo>
                  <a:cubicBezTo>
                    <a:pt x="597" y="1758"/>
                    <a:pt x="481" y="1798"/>
                    <a:pt x="421" y="1778"/>
                  </a:cubicBezTo>
                  <a:cubicBezTo>
                    <a:pt x="321" y="1768"/>
                    <a:pt x="304" y="1708"/>
                    <a:pt x="272" y="1664"/>
                  </a:cubicBezTo>
                  <a:cubicBezTo>
                    <a:pt x="258" y="1639"/>
                    <a:pt x="237" y="1608"/>
                    <a:pt x="237" y="1566"/>
                  </a:cubicBezTo>
                  <a:cubicBezTo>
                    <a:pt x="230" y="1513"/>
                    <a:pt x="240" y="1484"/>
                    <a:pt x="239" y="1432"/>
                  </a:cubicBezTo>
                  <a:cubicBezTo>
                    <a:pt x="243" y="1393"/>
                    <a:pt x="287" y="1401"/>
                    <a:pt x="315" y="1404"/>
                  </a:cubicBezTo>
                  <a:cubicBezTo>
                    <a:pt x="402" y="1413"/>
                    <a:pt x="547" y="1399"/>
                    <a:pt x="586" y="1387"/>
                  </a:cubicBezTo>
                  <a:cubicBezTo>
                    <a:pt x="641" y="1371"/>
                    <a:pt x="642" y="1337"/>
                    <a:pt x="605" y="1286"/>
                  </a:cubicBezTo>
                  <a:cubicBezTo>
                    <a:pt x="597" y="1261"/>
                    <a:pt x="598" y="1245"/>
                    <a:pt x="609" y="1223"/>
                  </a:cubicBezTo>
                  <a:cubicBezTo>
                    <a:pt x="625" y="1206"/>
                    <a:pt x="644" y="1195"/>
                    <a:pt x="630" y="1174"/>
                  </a:cubicBezTo>
                  <a:cubicBezTo>
                    <a:pt x="630" y="1174"/>
                    <a:pt x="504" y="1147"/>
                    <a:pt x="590" y="1133"/>
                  </a:cubicBezTo>
                  <a:cubicBezTo>
                    <a:pt x="679" y="1118"/>
                    <a:pt x="650" y="1082"/>
                    <a:pt x="650" y="1082"/>
                  </a:cubicBezTo>
                  <a:cubicBezTo>
                    <a:pt x="650" y="1082"/>
                    <a:pt x="635" y="1045"/>
                    <a:pt x="621" y="1018"/>
                  </a:cubicBezTo>
                  <a:cubicBezTo>
                    <a:pt x="611" y="998"/>
                    <a:pt x="695" y="991"/>
                    <a:pt x="704" y="959"/>
                  </a:cubicBezTo>
                  <a:cubicBezTo>
                    <a:pt x="724" y="932"/>
                    <a:pt x="661" y="871"/>
                    <a:pt x="639" y="841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800" dirty="0">
                <a:solidFill>
                  <a:srgbClr val="1F497D"/>
                </a:solidFill>
              </a:endParaRPr>
            </a:p>
          </p:txBody>
        </p:sp>
        <p:sp>
          <p:nvSpPr>
            <p:cNvPr id="218128" name="Freeform 16"/>
            <p:cNvSpPr>
              <a:spLocks noChangeAspect="1"/>
            </p:cNvSpPr>
            <p:nvPr/>
          </p:nvSpPr>
          <p:spPr bwMode="auto">
            <a:xfrm>
              <a:off x="1352" y="681"/>
              <a:ext cx="1829" cy="3153"/>
            </a:xfrm>
            <a:custGeom>
              <a:avLst/>
              <a:gdLst/>
              <a:ahLst/>
              <a:cxnLst>
                <a:cxn ang="0">
                  <a:pos x="1974" y="2106"/>
                </a:cxn>
                <a:cxn ang="0">
                  <a:pos x="0" y="3449"/>
                </a:cxn>
                <a:cxn ang="0">
                  <a:pos x="1972" y="0"/>
                </a:cxn>
                <a:cxn ang="0">
                  <a:pos x="1980" y="347"/>
                </a:cxn>
                <a:cxn ang="0">
                  <a:pos x="1982" y="392"/>
                </a:cxn>
                <a:cxn ang="0">
                  <a:pos x="1923" y="324"/>
                </a:cxn>
                <a:cxn ang="0">
                  <a:pos x="1878" y="384"/>
                </a:cxn>
                <a:cxn ang="0">
                  <a:pos x="1858" y="411"/>
                </a:cxn>
                <a:cxn ang="0">
                  <a:pos x="1823" y="348"/>
                </a:cxn>
                <a:cxn ang="0">
                  <a:pos x="1766" y="359"/>
                </a:cxn>
                <a:cxn ang="0">
                  <a:pos x="1702" y="494"/>
                </a:cxn>
                <a:cxn ang="0">
                  <a:pos x="1680" y="420"/>
                </a:cxn>
                <a:cxn ang="0">
                  <a:pos x="1605" y="427"/>
                </a:cxn>
                <a:cxn ang="0">
                  <a:pos x="1609" y="499"/>
                </a:cxn>
                <a:cxn ang="0">
                  <a:pos x="1520" y="498"/>
                </a:cxn>
                <a:cxn ang="0">
                  <a:pos x="1513" y="560"/>
                </a:cxn>
                <a:cxn ang="0">
                  <a:pos x="1407" y="521"/>
                </a:cxn>
                <a:cxn ang="0">
                  <a:pos x="1521" y="578"/>
                </a:cxn>
                <a:cxn ang="0">
                  <a:pos x="1453" y="612"/>
                </a:cxn>
                <a:cxn ang="0">
                  <a:pos x="1441" y="603"/>
                </a:cxn>
                <a:cxn ang="0">
                  <a:pos x="1404" y="640"/>
                </a:cxn>
                <a:cxn ang="0">
                  <a:pos x="1448" y="632"/>
                </a:cxn>
                <a:cxn ang="0">
                  <a:pos x="1433" y="703"/>
                </a:cxn>
                <a:cxn ang="0">
                  <a:pos x="1392" y="719"/>
                </a:cxn>
                <a:cxn ang="0">
                  <a:pos x="1410" y="785"/>
                </a:cxn>
                <a:cxn ang="0">
                  <a:pos x="1321" y="761"/>
                </a:cxn>
                <a:cxn ang="0">
                  <a:pos x="1255" y="760"/>
                </a:cxn>
                <a:cxn ang="0">
                  <a:pos x="1205" y="829"/>
                </a:cxn>
                <a:cxn ang="0">
                  <a:pos x="1350" y="845"/>
                </a:cxn>
                <a:cxn ang="0">
                  <a:pos x="1308" y="881"/>
                </a:cxn>
                <a:cxn ang="0">
                  <a:pos x="1308" y="953"/>
                </a:cxn>
                <a:cxn ang="0">
                  <a:pos x="1358" y="951"/>
                </a:cxn>
                <a:cxn ang="0">
                  <a:pos x="1319" y="1061"/>
                </a:cxn>
                <a:cxn ang="0">
                  <a:pos x="1324" y="1115"/>
                </a:cxn>
                <a:cxn ang="0">
                  <a:pos x="1283" y="1185"/>
                </a:cxn>
                <a:cxn ang="0">
                  <a:pos x="1257" y="1226"/>
                </a:cxn>
                <a:cxn ang="0">
                  <a:pos x="1285" y="1267"/>
                </a:cxn>
                <a:cxn ang="0">
                  <a:pos x="1314" y="1311"/>
                </a:cxn>
                <a:cxn ang="0">
                  <a:pos x="1363" y="1376"/>
                </a:cxn>
                <a:cxn ang="0">
                  <a:pos x="1438" y="1413"/>
                </a:cxn>
                <a:cxn ang="0">
                  <a:pos x="1494" y="1379"/>
                </a:cxn>
                <a:cxn ang="0">
                  <a:pos x="1513" y="1471"/>
                </a:cxn>
                <a:cxn ang="0">
                  <a:pos x="1605" y="1474"/>
                </a:cxn>
                <a:cxn ang="0">
                  <a:pos x="1584" y="1525"/>
                </a:cxn>
                <a:cxn ang="0">
                  <a:pos x="1618" y="1559"/>
                </a:cxn>
                <a:cxn ang="0">
                  <a:pos x="1644" y="1602"/>
                </a:cxn>
                <a:cxn ang="0">
                  <a:pos x="1700" y="1594"/>
                </a:cxn>
                <a:cxn ang="0">
                  <a:pos x="1729" y="1535"/>
                </a:cxn>
                <a:cxn ang="0">
                  <a:pos x="1794" y="1574"/>
                </a:cxn>
                <a:cxn ang="0">
                  <a:pos x="1808" y="1711"/>
                </a:cxn>
                <a:cxn ang="0">
                  <a:pos x="1870" y="1688"/>
                </a:cxn>
                <a:cxn ang="0">
                  <a:pos x="1839" y="1844"/>
                </a:cxn>
                <a:cxn ang="0">
                  <a:pos x="1446" y="2092"/>
                </a:cxn>
                <a:cxn ang="0">
                  <a:pos x="1654" y="2103"/>
                </a:cxn>
                <a:cxn ang="0">
                  <a:pos x="1974" y="2105"/>
                </a:cxn>
              </a:cxnLst>
              <a:rect l="0" t="0" r="r" b="b"/>
              <a:pathLst>
                <a:path w="2011" h="3449">
                  <a:moveTo>
                    <a:pt x="1974" y="2106"/>
                  </a:moveTo>
                  <a:lnTo>
                    <a:pt x="1974" y="2106"/>
                  </a:lnTo>
                  <a:cubicBezTo>
                    <a:pt x="1903" y="2543"/>
                    <a:pt x="1782" y="2987"/>
                    <a:pt x="1602" y="3449"/>
                  </a:cubicBezTo>
                  <a:lnTo>
                    <a:pt x="0" y="3449"/>
                  </a:lnTo>
                  <a:lnTo>
                    <a:pt x="0" y="0"/>
                  </a:lnTo>
                  <a:lnTo>
                    <a:pt x="1972" y="0"/>
                  </a:lnTo>
                  <a:cubicBezTo>
                    <a:pt x="1988" y="113"/>
                    <a:pt x="1999" y="197"/>
                    <a:pt x="2011" y="309"/>
                  </a:cubicBezTo>
                  <a:cubicBezTo>
                    <a:pt x="2011" y="309"/>
                    <a:pt x="1977" y="320"/>
                    <a:pt x="1980" y="347"/>
                  </a:cubicBezTo>
                  <a:cubicBezTo>
                    <a:pt x="1984" y="378"/>
                    <a:pt x="1997" y="385"/>
                    <a:pt x="1997" y="385"/>
                  </a:cubicBezTo>
                  <a:lnTo>
                    <a:pt x="1982" y="392"/>
                  </a:lnTo>
                  <a:cubicBezTo>
                    <a:pt x="1982" y="392"/>
                    <a:pt x="1966" y="368"/>
                    <a:pt x="1966" y="369"/>
                  </a:cubicBezTo>
                  <a:cubicBezTo>
                    <a:pt x="1966" y="346"/>
                    <a:pt x="1976" y="311"/>
                    <a:pt x="1923" y="324"/>
                  </a:cubicBezTo>
                  <a:cubicBezTo>
                    <a:pt x="1904" y="365"/>
                    <a:pt x="1952" y="373"/>
                    <a:pt x="1939" y="401"/>
                  </a:cubicBezTo>
                  <a:cubicBezTo>
                    <a:pt x="1883" y="404"/>
                    <a:pt x="1923" y="359"/>
                    <a:pt x="1878" y="384"/>
                  </a:cubicBezTo>
                  <a:cubicBezTo>
                    <a:pt x="1881" y="371"/>
                    <a:pt x="1871" y="336"/>
                    <a:pt x="1857" y="339"/>
                  </a:cubicBezTo>
                  <a:cubicBezTo>
                    <a:pt x="1851" y="358"/>
                    <a:pt x="1836" y="391"/>
                    <a:pt x="1858" y="411"/>
                  </a:cubicBezTo>
                  <a:cubicBezTo>
                    <a:pt x="1851" y="416"/>
                    <a:pt x="1830" y="413"/>
                    <a:pt x="1825" y="406"/>
                  </a:cubicBezTo>
                  <a:cubicBezTo>
                    <a:pt x="1819" y="396"/>
                    <a:pt x="1840" y="379"/>
                    <a:pt x="1823" y="348"/>
                  </a:cubicBezTo>
                  <a:cubicBezTo>
                    <a:pt x="1771" y="371"/>
                    <a:pt x="1819" y="421"/>
                    <a:pt x="1776" y="440"/>
                  </a:cubicBezTo>
                  <a:cubicBezTo>
                    <a:pt x="1729" y="434"/>
                    <a:pt x="1803" y="394"/>
                    <a:pt x="1766" y="359"/>
                  </a:cubicBezTo>
                  <a:cubicBezTo>
                    <a:pt x="1723" y="369"/>
                    <a:pt x="1707" y="413"/>
                    <a:pt x="1724" y="439"/>
                  </a:cubicBezTo>
                  <a:cubicBezTo>
                    <a:pt x="1723" y="462"/>
                    <a:pt x="1705" y="474"/>
                    <a:pt x="1702" y="494"/>
                  </a:cubicBezTo>
                  <a:cubicBezTo>
                    <a:pt x="1681" y="491"/>
                    <a:pt x="1672" y="483"/>
                    <a:pt x="1670" y="475"/>
                  </a:cubicBezTo>
                  <a:cubicBezTo>
                    <a:pt x="1667" y="460"/>
                    <a:pt x="1708" y="453"/>
                    <a:pt x="1680" y="420"/>
                  </a:cubicBezTo>
                  <a:cubicBezTo>
                    <a:pt x="1635" y="427"/>
                    <a:pt x="1665" y="500"/>
                    <a:pt x="1629" y="461"/>
                  </a:cubicBezTo>
                  <a:cubicBezTo>
                    <a:pt x="1626" y="444"/>
                    <a:pt x="1614" y="429"/>
                    <a:pt x="1605" y="427"/>
                  </a:cubicBezTo>
                  <a:cubicBezTo>
                    <a:pt x="1588" y="439"/>
                    <a:pt x="1580" y="459"/>
                    <a:pt x="1591" y="476"/>
                  </a:cubicBezTo>
                  <a:lnTo>
                    <a:pt x="1609" y="499"/>
                  </a:lnTo>
                  <a:cubicBezTo>
                    <a:pt x="1607" y="499"/>
                    <a:pt x="1617" y="513"/>
                    <a:pt x="1615" y="512"/>
                  </a:cubicBezTo>
                  <a:cubicBezTo>
                    <a:pt x="1585" y="488"/>
                    <a:pt x="1545" y="471"/>
                    <a:pt x="1520" y="498"/>
                  </a:cubicBezTo>
                  <a:cubicBezTo>
                    <a:pt x="1523" y="523"/>
                    <a:pt x="1545" y="525"/>
                    <a:pt x="1579" y="533"/>
                  </a:cubicBezTo>
                  <a:cubicBezTo>
                    <a:pt x="1536" y="537"/>
                    <a:pt x="1527" y="552"/>
                    <a:pt x="1513" y="560"/>
                  </a:cubicBezTo>
                  <a:cubicBezTo>
                    <a:pt x="1508" y="532"/>
                    <a:pt x="1475" y="527"/>
                    <a:pt x="1444" y="523"/>
                  </a:cubicBezTo>
                  <a:cubicBezTo>
                    <a:pt x="1426" y="527"/>
                    <a:pt x="1415" y="515"/>
                    <a:pt x="1407" y="521"/>
                  </a:cubicBezTo>
                  <a:cubicBezTo>
                    <a:pt x="1420" y="553"/>
                    <a:pt x="1451" y="578"/>
                    <a:pt x="1490" y="586"/>
                  </a:cubicBezTo>
                  <a:cubicBezTo>
                    <a:pt x="1507" y="584"/>
                    <a:pt x="1509" y="584"/>
                    <a:pt x="1521" y="578"/>
                  </a:cubicBezTo>
                  <a:cubicBezTo>
                    <a:pt x="1544" y="588"/>
                    <a:pt x="1542" y="592"/>
                    <a:pt x="1548" y="608"/>
                  </a:cubicBezTo>
                  <a:cubicBezTo>
                    <a:pt x="1514" y="623"/>
                    <a:pt x="1487" y="604"/>
                    <a:pt x="1453" y="612"/>
                  </a:cubicBezTo>
                  <a:cubicBezTo>
                    <a:pt x="1453" y="614"/>
                    <a:pt x="1445" y="614"/>
                    <a:pt x="1444" y="611"/>
                  </a:cubicBezTo>
                  <a:cubicBezTo>
                    <a:pt x="1445" y="611"/>
                    <a:pt x="1440" y="603"/>
                    <a:pt x="1441" y="603"/>
                  </a:cubicBezTo>
                  <a:cubicBezTo>
                    <a:pt x="1426" y="575"/>
                    <a:pt x="1387" y="586"/>
                    <a:pt x="1366" y="592"/>
                  </a:cubicBezTo>
                  <a:cubicBezTo>
                    <a:pt x="1363" y="614"/>
                    <a:pt x="1386" y="632"/>
                    <a:pt x="1404" y="640"/>
                  </a:cubicBezTo>
                  <a:cubicBezTo>
                    <a:pt x="1429" y="649"/>
                    <a:pt x="1438" y="641"/>
                    <a:pt x="1438" y="641"/>
                  </a:cubicBezTo>
                  <a:lnTo>
                    <a:pt x="1448" y="632"/>
                  </a:lnTo>
                  <a:cubicBezTo>
                    <a:pt x="1459" y="672"/>
                    <a:pt x="1473" y="674"/>
                    <a:pt x="1494" y="690"/>
                  </a:cubicBezTo>
                  <a:cubicBezTo>
                    <a:pt x="1471" y="698"/>
                    <a:pt x="1462" y="705"/>
                    <a:pt x="1433" y="703"/>
                  </a:cubicBezTo>
                  <a:cubicBezTo>
                    <a:pt x="1400" y="652"/>
                    <a:pt x="1301" y="630"/>
                    <a:pt x="1305" y="654"/>
                  </a:cubicBezTo>
                  <a:cubicBezTo>
                    <a:pt x="1319" y="706"/>
                    <a:pt x="1392" y="719"/>
                    <a:pt x="1392" y="719"/>
                  </a:cubicBezTo>
                  <a:cubicBezTo>
                    <a:pt x="1392" y="719"/>
                    <a:pt x="1354" y="733"/>
                    <a:pt x="1360" y="746"/>
                  </a:cubicBezTo>
                  <a:cubicBezTo>
                    <a:pt x="1367" y="758"/>
                    <a:pt x="1417" y="766"/>
                    <a:pt x="1410" y="785"/>
                  </a:cubicBezTo>
                  <a:cubicBezTo>
                    <a:pt x="1358" y="762"/>
                    <a:pt x="1348" y="771"/>
                    <a:pt x="1383" y="817"/>
                  </a:cubicBezTo>
                  <a:cubicBezTo>
                    <a:pt x="1339" y="819"/>
                    <a:pt x="1349" y="772"/>
                    <a:pt x="1321" y="761"/>
                  </a:cubicBezTo>
                  <a:cubicBezTo>
                    <a:pt x="1301" y="775"/>
                    <a:pt x="1313" y="806"/>
                    <a:pt x="1313" y="806"/>
                  </a:cubicBezTo>
                  <a:cubicBezTo>
                    <a:pt x="1303" y="798"/>
                    <a:pt x="1277" y="754"/>
                    <a:pt x="1255" y="760"/>
                  </a:cubicBezTo>
                  <a:cubicBezTo>
                    <a:pt x="1248" y="765"/>
                    <a:pt x="1248" y="789"/>
                    <a:pt x="1265" y="805"/>
                  </a:cubicBezTo>
                  <a:cubicBezTo>
                    <a:pt x="1244" y="809"/>
                    <a:pt x="1210" y="806"/>
                    <a:pt x="1205" y="829"/>
                  </a:cubicBezTo>
                  <a:cubicBezTo>
                    <a:pt x="1239" y="855"/>
                    <a:pt x="1276" y="855"/>
                    <a:pt x="1329" y="849"/>
                  </a:cubicBezTo>
                  <a:cubicBezTo>
                    <a:pt x="1329" y="849"/>
                    <a:pt x="1339" y="848"/>
                    <a:pt x="1350" y="845"/>
                  </a:cubicBezTo>
                  <a:cubicBezTo>
                    <a:pt x="1360" y="842"/>
                    <a:pt x="1375" y="856"/>
                    <a:pt x="1375" y="856"/>
                  </a:cubicBezTo>
                  <a:cubicBezTo>
                    <a:pt x="1349" y="862"/>
                    <a:pt x="1360" y="870"/>
                    <a:pt x="1308" y="881"/>
                  </a:cubicBezTo>
                  <a:cubicBezTo>
                    <a:pt x="1274" y="897"/>
                    <a:pt x="1247" y="918"/>
                    <a:pt x="1247" y="953"/>
                  </a:cubicBezTo>
                  <a:cubicBezTo>
                    <a:pt x="1268" y="963"/>
                    <a:pt x="1294" y="973"/>
                    <a:pt x="1308" y="953"/>
                  </a:cubicBezTo>
                  <a:cubicBezTo>
                    <a:pt x="1331" y="920"/>
                    <a:pt x="1324" y="946"/>
                    <a:pt x="1340" y="945"/>
                  </a:cubicBezTo>
                  <a:lnTo>
                    <a:pt x="1358" y="951"/>
                  </a:lnTo>
                  <a:cubicBezTo>
                    <a:pt x="1344" y="986"/>
                    <a:pt x="1264" y="985"/>
                    <a:pt x="1279" y="1011"/>
                  </a:cubicBezTo>
                  <a:cubicBezTo>
                    <a:pt x="1295" y="1035"/>
                    <a:pt x="1319" y="1061"/>
                    <a:pt x="1319" y="1061"/>
                  </a:cubicBezTo>
                  <a:cubicBezTo>
                    <a:pt x="1319" y="1061"/>
                    <a:pt x="1263" y="1032"/>
                    <a:pt x="1247" y="1053"/>
                  </a:cubicBezTo>
                  <a:cubicBezTo>
                    <a:pt x="1232" y="1071"/>
                    <a:pt x="1265" y="1102"/>
                    <a:pt x="1324" y="1115"/>
                  </a:cubicBezTo>
                  <a:cubicBezTo>
                    <a:pt x="1304" y="1128"/>
                    <a:pt x="1233" y="1115"/>
                    <a:pt x="1276" y="1160"/>
                  </a:cubicBezTo>
                  <a:cubicBezTo>
                    <a:pt x="1225" y="1181"/>
                    <a:pt x="1242" y="1196"/>
                    <a:pt x="1283" y="1185"/>
                  </a:cubicBezTo>
                  <a:lnTo>
                    <a:pt x="1303" y="1188"/>
                  </a:lnTo>
                  <a:cubicBezTo>
                    <a:pt x="1291" y="1196"/>
                    <a:pt x="1254" y="1213"/>
                    <a:pt x="1257" y="1226"/>
                  </a:cubicBezTo>
                  <a:cubicBezTo>
                    <a:pt x="1259" y="1243"/>
                    <a:pt x="1300" y="1222"/>
                    <a:pt x="1307" y="1235"/>
                  </a:cubicBezTo>
                  <a:cubicBezTo>
                    <a:pt x="1310" y="1254"/>
                    <a:pt x="1287" y="1262"/>
                    <a:pt x="1285" y="1267"/>
                  </a:cubicBezTo>
                  <a:cubicBezTo>
                    <a:pt x="1314" y="1286"/>
                    <a:pt x="1331" y="1241"/>
                    <a:pt x="1358" y="1267"/>
                  </a:cubicBezTo>
                  <a:cubicBezTo>
                    <a:pt x="1348" y="1286"/>
                    <a:pt x="1305" y="1282"/>
                    <a:pt x="1314" y="1311"/>
                  </a:cubicBezTo>
                  <a:cubicBezTo>
                    <a:pt x="1330" y="1323"/>
                    <a:pt x="1357" y="1318"/>
                    <a:pt x="1373" y="1329"/>
                  </a:cubicBezTo>
                  <a:cubicBezTo>
                    <a:pt x="1373" y="1329"/>
                    <a:pt x="1351" y="1371"/>
                    <a:pt x="1363" y="1376"/>
                  </a:cubicBezTo>
                  <a:cubicBezTo>
                    <a:pt x="1386" y="1388"/>
                    <a:pt x="1408" y="1351"/>
                    <a:pt x="1416" y="1349"/>
                  </a:cubicBezTo>
                  <a:cubicBezTo>
                    <a:pt x="1410" y="1396"/>
                    <a:pt x="1450" y="1380"/>
                    <a:pt x="1438" y="1413"/>
                  </a:cubicBezTo>
                  <a:cubicBezTo>
                    <a:pt x="1438" y="1430"/>
                    <a:pt x="1436" y="1454"/>
                    <a:pt x="1454" y="1463"/>
                  </a:cubicBezTo>
                  <a:cubicBezTo>
                    <a:pt x="1491" y="1452"/>
                    <a:pt x="1495" y="1423"/>
                    <a:pt x="1494" y="1379"/>
                  </a:cubicBezTo>
                  <a:cubicBezTo>
                    <a:pt x="1494" y="1364"/>
                    <a:pt x="1537" y="1389"/>
                    <a:pt x="1537" y="1389"/>
                  </a:cubicBezTo>
                  <a:cubicBezTo>
                    <a:pt x="1563" y="1410"/>
                    <a:pt x="1492" y="1426"/>
                    <a:pt x="1513" y="1471"/>
                  </a:cubicBezTo>
                  <a:cubicBezTo>
                    <a:pt x="1573" y="1479"/>
                    <a:pt x="1573" y="1428"/>
                    <a:pt x="1621" y="1419"/>
                  </a:cubicBezTo>
                  <a:cubicBezTo>
                    <a:pt x="1643" y="1433"/>
                    <a:pt x="1612" y="1457"/>
                    <a:pt x="1605" y="1474"/>
                  </a:cubicBezTo>
                  <a:cubicBezTo>
                    <a:pt x="1575" y="1491"/>
                    <a:pt x="1538" y="1471"/>
                    <a:pt x="1509" y="1530"/>
                  </a:cubicBezTo>
                  <a:cubicBezTo>
                    <a:pt x="1551" y="1546"/>
                    <a:pt x="1570" y="1533"/>
                    <a:pt x="1584" y="1525"/>
                  </a:cubicBezTo>
                  <a:cubicBezTo>
                    <a:pt x="1597" y="1516"/>
                    <a:pt x="1596" y="1511"/>
                    <a:pt x="1606" y="1507"/>
                  </a:cubicBezTo>
                  <a:cubicBezTo>
                    <a:pt x="1607" y="1523"/>
                    <a:pt x="1603" y="1553"/>
                    <a:pt x="1618" y="1559"/>
                  </a:cubicBezTo>
                  <a:cubicBezTo>
                    <a:pt x="1632" y="1558"/>
                    <a:pt x="1633" y="1553"/>
                    <a:pt x="1645" y="1546"/>
                  </a:cubicBezTo>
                  <a:cubicBezTo>
                    <a:pt x="1657" y="1558"/>
                    <a:pt x="1626" y="1589"/>
                    <a:pt x="1644" y="1602"/>
                  </a:cubicBezTo>
                  <a:cubicBezTo>
                    <a:pt x="1661" y="1599"/>
                    <a:pt x="1667" y="1583"/>
                    <a:pt x="1667" y="1583"/>
                  </a:cubicBezTo>
                  <a:cubicBezTo>
                    <a:pt x="1677" y="1597"/>
                    <a:pt x="1689" y="1597"/>
                    <a:pt x="1700" y="1594"/>
                  </a:cubicBezTo>
                  <a:cubicBezTo>
                    <a:pt x="1706" y="1579"/>
                    <a:pt x="1707" y="1545"/>
                    <a:pt x="1688" y="1533"/>
                  </a:cubicBezTo>
                  <a:cubicBezTo>
                    <a:pt x="1697" y="1522"/>
                    <a:pt x="1720" y="1543"/>
                    <a:pt x="1729" y="1535"/>
                  </a:cubicBezTo>
                  <a:cubicBezTo>
                    <a:pt x="1748" y="1557"/>
                    <a:pt x="1707" y="1600"/>
                    <a:pt x="1737" y="1618"/>
                  </a:cubicBezTo>
                  <a:cubicBezTo>
                    <a:pt x="1766" y="1615"/>
                    <a:pt x="1765" y="1586"/>
                    <a:pt x="1794" y="1574"/>
                  </a:cubicBezTo>
                  <a:cubicBezTo>
                    <a:pt x="1789" y="1604"/>
                    <a:pt x="1824" y="1626"/>
                    <a:pt x="1779" y="1648"/>
                  </a:cubicBezTo>
                  <a:cubicBezTo>
                    <a:pt x="1779" y="1677"/>
                    <a:pt x="1834" y="1669"/>
                    <a:pt x="1808" y="1711"/>
                  </a:cubicBezTo>
                  <a:cubicBezTo>
                    <a:pt x="1818" y="1728"/>
                    <a:pt x="1831" y="1721"/>
                    <a:pt x="1843" y="1718"/>
                  </a:cubicBezTo>
                  <a:lnTo>
                    <a:pt x="1870" y="1688"/>
                  </a:lnTo>
                  <a:cubicBezTo>
                    <a:pt x="1862" y="1712"/>
                    <a:pt x="1860" y="1750"/>
                    <a:pt x="1867" y="1777"/>
                  </a:cubicBezTo>
                  <a:cubicBezTo>
                    <a:pt x="1858" y="1800"/>
                    <a:pt x="1879" y="1825"/>
                    <a:pt x="1839" y="1844"/>
                  </a:cubicBezTo>
                  <a:cubicBezTo>
                    <a:pt x="1828" y="1900"/>
                    <a:pt x="1827" y="1956"/>
                    <a:pt x="1763" y="1992"/>
                  </a:cubicBezTo>
                  <a:cubicBezTo>
                    <a:pt x="1726" y="2060"/>
                    <a:pt x="1497" y="2024"/>
                    <a:pt x="1446" y="2092"/>
                  </a:cubicBezTo>
                  <a:cubicBezTo>
                    <a:pt x="1459" y="2104"/>
                    <a:pt x="1576" y="2100"/>
                    <a:pt x="1591" y="2096"/>
                  </a:cubicBezTo>
                  <a:cubicBezTo>
                    <a:pt x="1613" y="2085"/>
                    <a:pt x="1631" y="2104"/>
                    <a:pt x="1654" y="2103"/>
                  </a:cubicBezTo>
                  <a:cubicBezTo>
                    <a:pt x="1705" y="2103"/>
                    <a:pt x="1767" y="2086"/>
                    <a:pt x="1809" y="2103"/>
                  </a:cubicBezTo>
                  <a:cubicBezTo>
                    <a:pt x="1869" y="2103"/>
                    <a:pt x="1920" y="2105"/>
                    <a:pt x="1974" y="2105"/>
                  </a:cubicBezTo>
                  <a:lnTo>
                    <a:pt x="1974" y="2106"/>
                  </a:ln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800" dirty="0">
                <a:solidFill>
                  <a:srgbClr val="1F497D"/>
                </a:solidFill>
              </a:endParaRPr>
            </a:p>
          </p:txBody>
        </p:sp>
        <p:sp>
          <p:nvSpPr>
            <p:cNvPr id="218129" name="Freeform 17"/>
            <p:cNvSpPr>
              <a:spLocks noChangeAspect="1" noEditPoints="1"/>
            </p:cNvSpPr>
            <p:nvPr/>
          </p:nvSpPr>
          <p:spPr bwMode="auto">
            <a:xfrm>
              <a:off x="3235" y="2758"/>
              <a:ext cx="581" cy="570"/>
            </a:xfrm>
            <a:custGeom>
              <a:avLst/>
              <a:gdLst/>
              <a:ahLst/>
              <a:cxnLst>
                <a:cxn ang="0">
                  <a:pos x="321" y="621"/>
                </a:cxn>
                <a:cxn ang="0">
                  <a:pos x="321" y="621"/>
                </a:cxn>
                <a:cxn ang="0">
                  <a:pos x="639" y="307"/>
                </a:cxn>
                <a:cxn ang="0">
                  <a:pos x="321" y="0"/>
                </a:cxn>
                <a:cxn ang="0">
                  <a:pos x="0" y="307"/>
                </a:cxn>
                <a:cxn ang="0">
                  <a:pos x="321" y="621"/>
                </a:cxn>
                <a:cxn ang="0">
                  <a:pos x="321" y="621"/>
                </a:cxn>
                <a:cxn ang="0">
                  <a:pos x="162" y="307"/>
                </a:cxn>
                <a:cxn ang="0">
                  <a:pos x="162" y="307"/>
                </a:cxn>
                <a:cxn ang="0">
                  <a:pos x="321" y="125"/>
                </a:cxn>
                <a:cxn ang="0">
                  <a:pos x="477" y="307"/>
                </a:cxn>
                <a:cxn ang="0">
                  <a:pos x="321" y="495"/>
                </a:cxn>
                <a:cxn ang="0">
                  <a:pos x="162" y="307"/>
                </a:cxn>
              </a:cxnLst>
              <a:rect l="0" t="0" r="r" b="b"/>
              <a:pathLst>
                <a:path w="639" h="621">
                  <a:moveTo>
                    <a:pt x="321" y="621"/>
                  </a:moveTo>
                  <a:lnTo>
                    <a:pt x="321" y="621"/>
                  </a:lnTo>
                  <a:cubicBezTo>
                    <a:pt x="512" y="621"/>
                    <a:pt x="639" y="480"/>
                    <a:pt x="639" y="307"/>
                  </a:cubicBezTo>
                  <a:cubicBezTo>
                    <a:pt x="639" y="124"/>
                    <a:pt x="511" y="0"/>
                    <a:pt x="321" y="0"/>
                  </a:cubicBezTo>
                  <a:cubicBezTo>
                    <a:pt x="130" y="0"/>
                    <a:pt x="0" y="121"/>
                    <a:pt x="0" y="307"/>
                  </a:cubicBezTo>
                  <a:cubicBezTo>
                    <a:pt x="0" y="489"/>
                    <a:pt x="132" y="621"/>
                    <a:pt x="321" y="621"/>
                  </a:cubicBezTo>
                  <a:lnTo>
                    <a:pt x="321" y="621"/>
                  </a:lnTo>
                  <a:close/>
                  <a:moveTo>
                    <a:pt x="162" y="307"/>
                  </a:moveTo>
                  <a:lnTo>
                    <a:pt x="162" y="307"/>
                  </a:lnTo>
                  <a:cubicBezTo>
                    <a:pt x="162" y="198"/>
                    <a:pt x="214" y="125"/>
                    <a:pt x="321" y="125"/>
                  </a:cubicBezTo>
                  <a:cubicBezTo>
                    <a:pt x="425" y="125"/>
                    <a:pt x="477" y="192"/>
                    <a:pt x="477" y="307"/>
                  </a:cubicBezTo>
                  <a:cubicBezTo>
                    <a:pt x="477" y="413"/>
                    <a:pt x="426" y="495"/>
                    <a:pt x="321" y="495"/>
                  </a:cubicBezTo>
                  <a:cubicBezTo>
                    <a:pt x="220" y="495"/>
                    <a:pt x="162" y="415"/>
                    <a:pt x="162" y="307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800" dirty="0">
                <a:solidFill>
                  <a:srgbClr val="1F497D"/>
                </a:solidFill>
              </a:endParaRPr>
            </a:p>
          </p:txBody>
        </p:sp>
        <p:sp>
          <p:nvSpPr>
            <p:cNvPr id="218130" name="Freeform 18"/>
            <p:cNvSpPr>
              <a:spLocks noChangeAspect="1"/>
            </p:cNvSpPr>
            <p:nvPr/>
          </p:nvSpPr>
          <p:spPr bwMode="auto">
            <a:xfrm>
              <a:off x="3892" y="2758"/>
              <a:ext cx="409" cy="570"/>
            </a:xfrm>
            <a:custGeom>
              <a:avLst/>
              <a:gdLst/>
              <a:ahLst/>
              <a:cxnLst>
                <a:cxn ang="0">
                  <a:pos x="377" y="128"/>
                </a:cxn>
                <a:cxn ang="0">
                  <a:pos x="377" y="128"/>
                </a:cxn>
                <a:cxn ang="0">
                  <a:pos x="270" y="114"/>
                </a:cxn>
                <a:cxn ang="0">
                  <a:pos x="163" y="160"/>
                </a:cxn>
                <a:cxn ang="0">
                  <a:pos x="290" y="260"/>
                </a:cxn>
                <a:cxn ang="0">
                  <a:pos x="441" y="443"/>
                </a:cxn>
                <a:cxn ang="0">
                  <a:pos x="187" y="621"/>
                </a:cxn>
                <a:cxn ang="0">
                  <a:pos x="11" y="594"/>
                </a:cxn>
                <a:cxn ang="0">
                  <a:pos x="11" y="469"/>
                </a:cxn>
                <a:cxn ang="0">
                  <a:pos x="193" y="506"/>
                </a:cxn>
                <a:cxn ang="0">
                  <a:pos x="279" y="448"/>
                </a:cxn>
                <a:cxn ang="0">
                  <a:pos x="153" y="349"/>
                </a:cxn>
                <a:cxn ang="0">
                  <a:pos x="0" y="160"/>
                </a:cxn>
                <a:cxn ang="0">
                  <a:pos x="243" y="0"/>
                </a:cxn>
                <a:cxn ang="0">
                  <a:pos x="377" y="10"/>
                </a:cxn>
                <a:cxn ang="0">
                  <a:pos x="377" y="128"/>
                </a:cxn>
              </a:cxnLst>
              <a:rect l="0" t="0" r="r" b="b"/>
              <a:pathLst>
                <a:path w="441" h="621">
                  <a:moveTo>
                    <a:pt x="377" y="128"/>
                  </a:moveTo>
                  <a:lnTo>
                    <a:pt x="377" y="128"/>
                  </a:lnTo>
                  <a:cubicBezTo>
                    <a:pt x="341" y="122"/>
                    <a:pt x="306" y="114"/>
                    <a:pt x="270" y="114"/>
                  </a:cubicBezTo>
                  <a:cubicBezTo>
                    <a:pt x="207" y="114"/>
                    <a:pt x="163" y="129"/>
                    <a:pt x="163" y="160"/>
                  </a:cubicBezTo>
                  <a:cubicBezTo>
                    <a:pt x="163" y="195"/>
                    <a:pt x="223" y="224"/>
                    <a:pt x="290" y="260"/>
                  </a:cubicBezTo>
                  <a:cubicBezTo>
                    <a:pt x="353" y="294"/>
                    <a:pt x="441" y="340"/>
                    <a:pt x="441" y="443"/>
                  </a:cubicBezTo>
                  <a:cubicBezTo>
                    <a:pt x="441" y="557"/>
                    <a:pt x="340" y="621"/>
                    <a:pt x="187" y="621"/>
                  </a:cubicBezTo>
                  <a:cubicBezTo>
                    <a:pt x="117" y="621"/>
                    <a:pt x="69" y="607"/>
                    <a:pt x="11" y="594"/>
                  </a:cubicBezTo>
                  <a:lnTo>
                    <a:pt x="11" y="469"/>
                  </a:lnTo>
                  <a:cubicBezTo>
                    <a:pt x="56" y="482"/>
                    <a:pt x="128" y="506"/>
                    <a:pt x="193" y="506"/>
                  </a:cubicBezTo>
                  <a:cubicBezTo>
                    <a:pt x="236" y="506"/>
                    <a:pt x="279" y="487"/>
                    <a:pt x="279" y="448"/>
                  </a:cubicBezTo>
                  <a:cubicBezTo>
                    <a:pt x="279" y="412"/>
                    <a:pt x="227" y="391"/>
                    <a:pt x="153" y="349"/>
                  </a:cubicBezTo>
                  <a:cubicBezTo>
                    <a:pt x="86" y="316"/>
                    <a:pt x="0" y="247"/>
                    <a:pt x="0" y="160"/>
                  </a:cubicBezTo>
                  <a:cubicBezTo>
                    <a:pt x="0" y="57"/>
                    <a:pt x="104" y="0"/>
                    <a:pt x="243" y="0"/>
                  </a:cubicBezTo>
                  <a:cubicBezTo>
                    <a:pt x="288" y="0"/>
                    <a:pt x="333" y="4"/>
                    <a:pt x="377" y="10"/>
                  </a:cubicBezTo>
                  <a:lnTo>
                    <a:pt x="377" y="128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800" dirty="0">
                <a:solidFill>
                  <a:srgbClr val="1F497D"/>
                </a:solidFill>
              </a:endParaRPr>
            </a:p>
          </p:txBody>
        </p:sp>
        <p:sp>
          <p:nvSpPr>
            <p:cNvPr id="218131" name="Freeform 19"/>
            <p:cNvSpPr>
              <a:spLocks noChangeAspect="1"/>
            </p:cNvSpPr>
            <p:nvPr/>
          </p:nvSpPr>
          <p:spPr bwMode="auto">
            <a:xfrm>
              <a:off x="1772" y="2564"/>
              <a:ext cx="215" cy="743"/>
            </a:xfrm>
            <a:custGeom>
              <a:avLst/>
              <a:gdLst/>
              <a:ahLst/>
              <a:cxnLst>
                <a:cxn ang="0">
                  <a:pos x="18" y="817"/>
                </a:cxn>
                <a:cxn ang="0">
                  <a:pos x="18" y="817"/>
                </a:cxn>
                <a:cxn ang="0">
                  <a:pos x="24" y="606"/>
                </a:cxn>
                <a:cxn ang="0">
                  <a:pos x="24" y="287"/>
                </a:cxn>
                <a:cxn ang="0">
                  <a:pos x="0" y="0"/>
                </a:cxn>
                <a:cxn ang="0">
                  <a:pos x="211" y="0"/>
                </a:cxn>
                <a:cxn ang="0">
                  <a:pos x="205" y="232"/>
                </a:cxn>
                <a:cxn ang="0">
                  <a:pos x="205" y="530"/>
                </a:cxn>
                <a:cxn ang="0">
                  <a:pos x="229" y="817"/>
                </a:cxn>
                <a:cxn ang="0">
                  <a:pos x="18" y="817"/>
                </a:cxn>
              </a:cxnLst>
              <a:rect l="0" t="0" r="r" b="b"/>
              <a:pathLst>
                <a:path w="229" h="817">
                  <a:moveTo>
                    <a:pt x="18" y="817"/>
                  </a:moveTo>
                  <a:lnTo>
                    <a:pt x="18" y="817"/>
                  </a:lnTo>
                  <a:cubicBezTo>
                    <a:pt x="22" y="750"/>
                    <a:pt x="24" y="699"/>
                    <a:pt x="24" y="606"/>
                  </a:cubicBezTo>
                  <a:lnTo>
                    <a:pt x="24" y="287"/>
                  </a:lnTo>
                  <a:cubicBezTo>
                    <a:pt x="24" y="172"/>
                    <a:pt x="17" y="85"/>
                    <a:pt x="0" y="0"/>
                  </a:cubicBezTo>
                  <a:lnTo>
                    <a:pt x="211" y="0"/>
                  </a:lnTo>
                  <a:cubicBezTo>
                    <a:pt x="211" y="59"/>
                    <a:pt x="205" y="140"/>
                    <a:pt x="205" y="232"/>
                  </a:cubicBezTo>
                  <a:lnTo>
                    <a:pt x="205" y="530"/>
                  </a:lnTo>
                  <a:cubicBezTo>
                    <a:pt x="205" y="614"/>
                    <a:pt x="218" y="739"/>
                    <a:pt x="229" y="817"/>
                  </a:cubicBezTo>
                  <a:lnTo>
                    <a:pt x="18" y="817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800" dirty="0">
                <a:solidFill>
                  <a:srgbClr val="1F497D"/>
                </a:solidFill>
              </a:endParaRPr>
            </a:p>
          </p:txBody>
        </p:sp>
        <p:sp>
          <p:nvSpPr>
            <p:cNvPr id="218132" name="Freeform 20"/>
            <p:cNvSpPr>
              <a:spLocks noChangeAspect="1" noEditPoints="1"/>
            </p:cNvSpPr>
            <p:nvPr/>
          </p:nvSpPr>
          <p:spPr bwMode="auto">
            <a:xfrm>
              <a:off x="2095" y="2758"/>
              <a:ext cx="602" cy="785"/>
            </a:xfrm>
            <a:custGeom>
              <a:avLst/>
              <a:gdLst/>
              <a:ahLst/>
              <a:cxnLst>
                <a:cxn ang="0">
                  <a:pos x="210" y="851"/>
                </a:cxn>
                <a:cxn ang="0">
                  <a:pos x="210" y="851"/>
                </a:cxn>
                <a:cxn ang="0">
                  <a:pos x="198" y="632"/>
                </a:cxn>
                <a:cxn ang="0">
                  <a:pos x="198" y="564"/>
                </a:cxn>
                <a:cxn ang="0">
                  <a:pos x="385" y="621"/>
                </a:cxn>
                <a:cxn ang="0">
                  <a:pos x="662" y="322"/>
                </a:cxn>
                <a:cxn ang="0">
                  <a:pos x="378" y="0"/>
                </a:cxn>
                <a:cxn ang="0">
                  <a:pos x="174" y="98"/>
                </a:cxn>
                <a:cxn ang="0">
                  <a:pos x="153" y="15"/>
                </a:cxn>
                <a:cxn ang="0">
                  <a:pos x="0" y="26"/>
                </a:cxn>
                <a:cxn ang="0">
                  <a:pos x="36" y="323"/>
                </a:cxn>
                <a:cxn ang="0">
                  <a:pos x="36" y="564"/>
                </a:cxn>
                <a:cxn ang="0">
                  <a:pos x="12" y="863"/>
                </a:cxn>
                <a:cxn ang="0">
                  <a:pos x="210" y="851"/>
                </a:cxn>
                <a:cxn ang="0">
                  <a:pos x="210" y="851"/>
                </a:cxn>
                <a:cxn ang="0">
                  <a:pos x="186" y="323"/>
                </a:cxn>
                <a:cxn ang="0">
                  <a:pos x="186" y="323"/>
                </a:cxn>
                <a:cxn ang="0">
                  <a:pos x="338" y="125"/>
                </a:cxn>
                <a:cxn ang="0">
                  <a:pos x="500" y="323"/>
                </a:cxn>
                <a:cxn ang="0">
                  <a:pos x="345" y="495"/>
                </a:cxn>
                <a:cxn ang="0">
                  <a:pos x="186" y="323"/>
                </a:cxn>
              </a:cxnLst>
              <a:rect l="0" t="0" r="r" b="b"/>
              <a:pathLst>
                <a:path w="662" h="863">
                  <a:moveTo>
                    <a:pt x="210" y="851"/>
                  </a:moveTo>
                  <a:lnTo>
                    <a:pt x="210" y="851"/>
                  </a:lnTo>
                  <a:cubicBezTo>
                    <a:pt x="198" y="763"/>
                    <a:pt x="198" y="664"/>
                    <a:pt x="198" y="632"/>
                  </a:cubicBezTo>
                  <a:lnTo>
                    <a:pt x="198" y="564"/>
                  </a:lnTo>
                  <a:cubicBezTo>
                    <a:pt x="242" y="589"/>
                    <a:pt x="288" y="621"/>
                    <a:pt x="385" y="621"/>
                  </a:cubicBezTo>
                  <a:cubicBezTo>
                    <a:pt x="550" y="621"/>
                    <a:pt x="662" y="495"/>
                    <a:pt x="662" y="322"/>
                  </a:cubicBezTo>
                  <a:cubicBezTo>
                    <a:pt x="662" y="134"/>
                    <a:pt x="546" y="0"/>
                    <a:pt x="378" y="0"/>
                  </a:cubicBezTo>
                  <a:cubicBezTo>
                    <a:pt x="261" y="0"/>
                    <a:pt x="213" y="56"/>
                    <a:pt x="174" y="98"/>
                  </a:cubicBezTo>
                  <a:cubicBezTo>
                    <a:pt x="166" y="67"/>
                    <a:pt x="162" y="41"/>
                    <a:pt x="153" y="15"/>
                  </a:cubicBezTo>
                  <a:lnTo>
                    <a:pt x="0" y="26"/>
                  </a:lnTo>
                  <a:cubicBezTo>
                    <a:pt x="19" y="127"/>
                    <a:pt x="36" y="220"/>
                    <a:pt x="36" y="323"/>
                  </a:cubicBezTo>
                  <a:lnTo>
                    <a:pt x="36" y="564"/>
                  </a:lnTo>
                  <a:cubicBezTo>
                    <a:pt x="36" y="648"/>
                    <a:pt x="18" y="808"/>
                    <a:pt x="12" y="863"/>
                  </a:cubicBezTo>
                  <a:lnTo>
                    <a:pt x="210" y="851"/>
                  </a:lnTo>
                  <a:lnTo>
                    <a:pt x="210" y="851"/>
                  </a:lnTo>
                  <a:close/>
                  <a:moveTo>
                    <a:pt x="186" y="323"/>
                  </a:moveTo>
                  <a:lnTo>
                    <a:pt x="186" y="323"/>
                  </a:lnTo>
                  <a:cubicBezTo>
                    <a:pt x="186" y="206"/>
                    <a:pt x="236" y="125"/>
                    <a:pt x="338" y="125"/>
                  </a:cubicBezTo>
                  <a:cubicBezTo>
                    <a:pt x="433" y="125"/>
                    <a:pt x="500" y="207"/>
                    <a:pt x="500" y="323"/>
                  </a:cubicBezTo>
                  <a:cubicBezTo>
                    <a:pt x="500" y="426"/>
                    <a:pt x="448" y="495"/>
                    <a:pt x="345" y="495"/>
                  </a:cubicBezTo>
                  <a:cubicBezTo>
                    <a:pt x="244" y="495"/>
                    <a:pt x="186" y="437"/>
                    <a:pt x="186" y="323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800" dirty="0">
                <a:solidFill>
                  <a:srgbClr val="1F497D"/>
                </a:solidFill>
              </a:endParaRPr>
            </a:p>
          </p:txBody>
        </p:sp>
        <p:sp>
          <p:nvSpPr>
            <p:cNvPr id="218133" name="Freeform 21"/>
            <p:cNvSpPr>
              <a:spLocks noChangeAspect="1"/>
            </p:cNvSpPr>
            <p:nvPr/>
          </p:nvSpPr>
          <p:spPr bwMode="auto">
            <a:xfrm>
              <a:off x="2773" y="2758"/>
              <a:ext cx="398" cy="570"/>
            </a:xfrm>
            <a:custGeom>
              <a:avLst/>
              <a:gdLst/>
              <a:ahLst/>
              <a:cxnLst>
                <a:cxn ang="0">
                  <a:pos x="364" y="126"/>
                </a:cxn>
                <a:cxn ang="0">
                  <a:pos x="364" y="126"/>
                </a:cxn>
                <a:cxn ang="0">
                  <a:pos x="270" y="114"/>
                </a:cxn>
                <a:cxn ang="0">
                  <a:pos x="162" y="160"/>
                </a:cxn>
                <a:cxn ang="0">
                  <a:pos x="289" y="260"/>
                </a:cxn>
                <a:cxn ang="0">
                  <a:pos x="440" y="443"/>
                </a:cxn>
                <a:cxn ang="0">
                  <a:pos x="186" y="621"/>
                </a:cxn>
                <a:cxn ang="0">
                  <a:pos x="11" y="594"/>
                </a:cxn>
                <a:cxn ang="0">
                  <a:pos x="11" y="469"/>
                </a:cxn>
                <a:cxn ang="0">
                  <a:pos x="192" y="506"/>
                </a:cxn>
                <a:cxn ang="0">
                  <a:pos x="278" y="448"/>
                </a:cxn>
                <a:cxn ang="0">
                  <a:pos x="152" y="349"/>
                </a:cxn>
                <a:cxn ang="0">
                  <a:pos x="0" y="160"/>
                </a:cxn>
                <a:cxn ang="0">
                  <a:pos x="242" y="0"/>
                </a:cxn>
                <a:cxn ang="0">
                  <a:pos x="387" y="12"/>
                </a:cxn>
                <a:cxn ang="0">
                  <a:pos x="364" y="126"/>
                </a:cxn>
              </a:cxnLst>
              <a:rect l="0" t="0" r="r" b="b"/>
              <a:pathLst>
                <a:path w="440" h="621">
                  <a:moveTo>
                    <a:pt x="364" y="126"/>
                  </a:moveTo>
                  <a:lnTo>
                    <a:pt x="364" y="126"/>
                  </a:lnTo>
                  <a:cubicBezTo>
                    <a:pt x="328" y="120"/>
                    <a:pt x="306" y="114"/>
                    <a:pt x="270" y="114"/>
                  </a:cubicBezTo>
                  <a:cubicBezTo>
                    <a:pt x="206" y="114"/>
                    <a:pt x="162" y="129"/>
                    <a:pt x="162" y="160"/>
                  </a:cubicBezTo>
                  <a:cubicBezTo>
                    <a:pt x="162" y="195"/>
                    <a:pt x="222" y="224"/>
                    <a:pt x="289" y="260"/>
                  </a:cubicBezTo>
                  <a:cubicBezTo>
                    <a:pt x="353" y="294"/>
                    <a:pt x="440" y="340"/>
                    <a:pt x="440" y="443"/>
                  </a:cubicBezTo>
                  <a:cubicBezTo>
                    <a:pt x="440" y="557"/>
                    <a:pt x="339" y="621"/>
                    <a:pt x="186" y="621"/>
                  </a:cubicBezTo>
                  <a:cubicBezTo>
                    <a:pt x="116" y="621"/>
                    <a:pt x="68" y="607"/>
                    <a:pt x="11" y="594"/>
                  </a:cubicBezTo>
                  <a:lnTo>
                    <a:pt x="11" y="469"/>
                  </a:lnTo>
                  <a:cubicBezTo>
                    <a:pt x="55" y="482"/>
                    <a:pt x="127" y="506"/>
                    <a:pt x="192" y="506"/>
                  </a:cubicBezTo>
                  <a:cubicBezTo>
                    <a:pt x="235" y="506"/>
                    <a:pt x="278" y="487"/>
                    <a:pt x="278" y="448"/>
                  </a:cubicBezTo>
                  <a:cubicBezTo>
                    <a:pt x="278" y="412"/>
                    <a:pt x="227" y="391"/>
                    <a:pt x="152" y="349"/>
                  </a:cubicBezTo>
                  <a:cubicBezTo>
                    <a:pt x="85" y="316"/>
                    <a:pt x="0" y="247"/>
                    <a:pt x="0" y="160"/>
                  </a:cubicBezTo>
                  <a:cubicBezTo>
                    <a:pt x="0" y="57"/>
                    <a:pt x="103" y="0"/>
                    <a:pt x="242" y="0"/>
                  </a:cubicBezTo>
                  <a:cubicBezTo>
                    <a:pt x="288" y="0"/>
                    <a:pt x="342" y="6"/>
                    <a:pt x="387" y="12"/>
                  </a:cubicBezTo>
                  <a:lnTo>
                    <a:pt x="364" y="126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800" dirty="0">
                <a:solidFill>
                  <a:srgbClr val="1F497D"/>
                </a:solidFill>
              </a:endParaRPr>
            </a:p>
          </p:txBody>
        </p:sp>
      </p:grpSp>
      <p:cxnSp>
        <p:nvCxnSpPr>
          <p:cNvPr id="24" name="Straight Connector 23"/>
          <p:cNvCxnSpPr/>
          <p:nvPr userDrawn="1"/>
        </p:nvCxnSpPr>
        <p:spPr bwMode="auto">
          <a:xfrm>
            <a:off x="182873" y="880145"/>
            <a:ext cx="11824701" cy="0"/>
          </a:xfrm>
          <a:prstGeom prst="line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5" name="矩形 24"/>
          <p:cNvSpPr/>
          <p:nvPr userDrawn="1"/>
        </p:nvSpPr>
        <p:spPr bwMode="auto">
          <a:xfrm>
            <a:off x="10595708" y="6201309"/>
            <a:ext cx="936103" cy="65669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2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9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27" name="Picture 65" descr="Ipsos Marketing MUM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87612" y="6535370"/>
            <a:ext cx="1724209" cy="23270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544446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2" r:id="rId1"/>
    <p:sldLayoutId id="2147484133" r:id="rId2"/>
    <p:sldLayoutId id="2147484134" r:id="rId3"/>
    <p:sldLayoutId id="2147484137" r:id="rId4"/>
  </p:sldLayoutIdLst>
  <p:hf hdr="0" ft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Calibri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Calibri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Calibri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Calibri" pitchFamily="34" charset="0"/>
        </a:defRPr>
      </a:lvl5pPr>
      <a:lvl6pPr marL="457108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Calibri" pitchFamily="34" charset="0"/>
        </a:defRPr>
      </a:lvl6pPr>
      <a:lvl7pPr marL="914218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Calibri" pitchFamily="34" charset="0"/>
        </a:defRPr>
      </a:lvl7pPr>
      <a:lvl8pPr marL="1371326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Calibri" pitchFamily="34" charset="0"/>
        </a:defRPr>
      </a:lvl8pPr>
      <a:lvl9pPr marL="1828434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Calibri" pitchFamily="34" charset="0"/>
        </a:defRPr>
      </a:lvl9pPr>
    </p:titleStyle>
    <p:bodyStyle>
      <a:lvl1pPr marL="180939" indent="-180939" algn="l" rtl="0" fontAlgn="base">
        <a:lnSpc>
          <a:spcPct val="90000"/>
        </a:lnSpc>
        <a:spcBef>
          <a:spcPct val="5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630113" indent="-268234" algn="l" rtl="0" fontAlgn="base">
        <a:lnSpc>
          <a:spcPct val="90000"/>
        </a:lnSpc>
        <a:spcBef>
          <a:spcPct val="50000"/>
        </a:spcBef>
        <a:spcAft>
          <a:spcPct val="0"/>
        </a:spcAft>
        <a:buFont typeface="Wingdings" pitchFamily="2" charset="2"/>
        <a:buChar char="ð"/>
        <a:defRPr sz="1600">
          <a:solidFill>
            <a:schemeClr val="tx1"/>
          </a:solidFill>
          <a:latin typeface="+mn-lt"/>
        </a:defRPr>
      </a:lvl2pPr>
      <a:lvl3pPr marL="990402" indent="-180939" algn="l" rtl="0" fontAlgn="base">
        <a:lnSpc>
          <a:spcPct val="90000"/>
        </a:lnSpc>
        <a:spcBef>
          <a:spcPct val="50000"/>
        </a:spcBef>
        <a:spcAft>
          <a:spcPct val="0"/>
        </a:spcAft>
        <a:buFont typeface="Calibri" pitchFamily="34" charset="0"/>
        <a:buChar char="̶"/>
        <a:defRPr sz="1500">
          <a:solidFill>
            <a:schemeClr val="tx1"/>
          </a:solidFill>
          <a:latin typeface="+mn-lt"/>
        </a:defRPr>
      </a:lvl3pPr>
      <a:lvl4pPr marL="1442750" indent="-185701" algn="l" rtl="0" fontAlgn="base">
        <a:lnSpc>
          <a:spcPct val="90000"/>
        </a:lnSpc>
        <a:spcBef>
          <a:spcPct val="50000"/>
        </a:spcBef>
        <a:spcAft>
          <a:spcPct val="0"/>
        </a:spcAft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4pPr>
      <a:lvl5pPr marL="1796691" indent="-174591" algn="l" rtl="0" fontAlgn="base">
        <a:lnSpc>
          <a:spcPct val="90000"/>
        </a:lnSpc>
        <a:spcBef>
          <a:spcPct val="50000"/>
        </a:spcBef>
        <a:spcAft>
          <a:spcPct val="0"/>
        </a:spcAft>
        <a:buFont typeface="Wingdings" pitchFamily="2" charset="2"/>
        <a:buChar char="§"/>
        <a:defRPr sz="1100">
          <a:solidFill>
            <a:schemeClr val="tx1"/>
          </a:solidFill>
          <a:latin typeface="+mn-lt"/>
        </a:defRPr>
      </a:lvl5pPr>
      <a:lvl6pPr marL="2253800" indent="-174591" algn="l" rtl="0" fontAlgn="base">
        <a:lnSpc>
          <a:spcPct val="90000"/>
        </a:lnSpc>
        <a:spcBef>
          <a:spcPct val="50000"/>
        </a:spcBef>
        <a:spcAft>
          <a:spcPct val="0"/>
        </a:spcAft>
        <a:buFont typeface="Wingdings" pitchFamily="2" charset="2"/>
        <a:buChar char="§"/>
        <a:defRPr sz="1100">
          <a:solidFill>
            <a:schemeClr val="tx1"/>
          </a:solidFill>
          <a:latin typeface="+mn-lt"/>
        </a:defRPr>
      </a:lvl6pPr>
      <a:lvl7pPr marL="2710909" indent="-174591" algn="l" rtl="0" fontAlgn="base">
        <a:lnSpc>
          <a:spcPct val="90000"/>
        </a:lnSpc>
        <a:spcBef>
          <a:spcPct val="50000"/>
        </a:spcBef>
        <a:spcAft>
          <a:spcPct val="0"/>
        </a:spcAft>
        <a:buFont typeface="Wingdings" pitchFamily="2" charset="2"/>
        <a:buChar char="§"/>
        <a:defRPr sz="1100">
          <a:solidFill>
            <a:schemeClr val="tx1"/>
          </a:solidFill>
          <a:latin typeface="+mn-lt"/>
        </a:defRPr>
      </a:lvl7pPr>
      <a:lvl8pPr marL="3168017" indent="-174591" algn="l" rtl="0" fontAlgn="base">
        <a:lnSpc>
          <a:spcPct val="90000"/>
        </a:lnSpc>
        <a:spcBef>
          <a:spcPct val="50000"/>
        </a:spcBef>
        <a:spcAft>
          <a:spcPct val="0"/>
        </a:spcAft>
        <a:buFont typeface="Wingdings" pitchFamily="2" charset="2"/>
        <a:buChar char="§"/>
        <a:defRPr sz="1100">
          <a:solidFill>
            <a:schemeClr val="tx1"/>
          </a:solidFill>
          <a:latin typeface="+mn-lt"/>
        </a:defRPr>
      </a:lvl8pPr>
      <a:lvl9pPr marL="3625125" indent="-174591" algn="l" rtl="0" fontAlgn="base">
        <a:lnSpc>
          <a:spcPct val="90000"/>
        </a:lnSpc>
        <a:spcBef>
          <a:spcPct val="50000"/>
        </a:spcBef>
        <a:spcAft>
          <a:spcPct val="0"/>
        </a:spcAft>
        <a:buFont typeface="Wingdings" pitchFamily="2" charset="2"/>
        <a:buChar char="§"/>
        <a:defRPr sz="11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21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8" algn="l" defTabSz="91421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8" algn="l" defTabSz="91421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2" algn="l" defTabSz="91421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2" algn="l" defTabSz="91421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91421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11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117456" y="87314"/>
            <a:ext cx="10876135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2181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9841" y="977901"/>
            <a:ext cx="10315290" cy="548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218117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819313" y="6563797"/>
            <a:ext cx="182742" cy="184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buFontTx/>
              <a:buNone/>
              <a:defRPr sz="1200" b="1"/>
            </a:lvl1pPr>
          </a:lstStyle>
          <a:p>
            <a:fld id="{0FE30328-C834-48E7-B9C8-527F9A6C821A}" type="slidenum">
              <a:rPr lang="en-US">
                <a:solidFill>
                  <a:srgbClr val="1F497D"/>
                </a:solidFill>
              </a:rPr>
              <a:pPr/>
              <a:t>‹#›</a:t>
            </a:fld>
            <a:endParaRPr lang="en-US" dirty="0">
              <a:solidFill>
                <a:srgbClr val="1F497D"/>
              </a:solidFill>
            </a:endParaRPr>
          </a:p>
        </p:txBody>
      </p:sp>
      <p:grpSp>
        <p:nvGrpSpPr>
          <p:cNvPr id="218118" name="Group 6"/>
          <p:cNvGrpSpPr>
            <a:grpSpLocks noChangeAspect="1"/>
          </p:cNvGrpSpPr>
          <p:nvPr/>
        </p:nvGrpSpPr>
        <p:grpSpPr bwMode="auto">
          <a:xfrm>
            <a:off x="10725464" y="6317261"/>
            <a:ext cx="696292" cy="468312"/>
            <a:chOff x="1352" y="681"/>
            <a:chExt cx="3519" cy="3153"/>
          </a:xfrm>
        </p:grpSpPr>
        <p:sp>
          <p:nvSpPr>
            <p:cNvPr id="218119" name="Freeform 7"/>
            <p:cNvSpPr>
              <a:spLocks noChangeAspect="1"/>
            </p:cNvSpPr>
            <p:nvPr/>
          </p:nvSpPr>
          <p:spPr bwMode="auto">
            <a:xfrm>
              <a:off x="1352" y="681"/>
              <a:ext cx="3519" cy="3153"/>
            </a:xfrm>
            <a:custGeom>
              <a:avLst/>
              <a:gdLst/>
              <a:ahLst/>
              <a:cxnLst>
                <a:cxn ang="0">
                  <a:pos x="0" y="3449"/>
                </a:cxn>
                <a:cxn ang="0">
                  <a:pos x="0" y="3449"/>
                </a:cxn>
                <a:cxn ang="0">
                  <a:pos x="0" y="0"/>
                </a:cxn>
                <a:cxn ang="0">
                  <a:pos x="3696" y="0"/>
                </a:cxn>
                <a:cxn ang="0">
                  <a:pos x="3327" y="3449"/>
                </a:cxn>
                <a:cxn ang="0">
                  <a:pos x="0" y="3449"/>
                </a:cxn>
              </a:cxnLst>
              <a:rect l="0" t="0" r="r" b="b"/>
              <a:pathLst>
                <a:path w="3862" h="3449">
                  <a:moveTo>
                    <a:pt x="0" y="3449"/>
                  </a:moveTo>
                  <a:lnTo>
                    <a:pt x="0" y="3449"/>
                  </a:lnTo>
                  <a:lnTo>
                    <a:pt x="0" y="0"/>
                  </a:lnTo>
                  <a:lnTo>
                    <a:pt x="3696" y="0"/>
                  </a:lnTo>
                  <a:cubicBezTo>
                    <a:pt x="3862" y="1150"/>
                    <a:pt x="3797" y="2241"/>
                    <a:pt x="3327" y="3449"/>
                  </a:cubicBezTo>
                  <a:lnTo>
                    <a:pt x="0" y="3449"/>
                  </a:lnTo>
                  <a:close/>
                </a:path>
              </a:pathLst>
            </a:custGeom>
            <a:solidFill>
              <a:srgbClr val="009D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1F497D"/>
                </a:solidFill>
              </a:endParaRPr>
            </a:p>
          </p:txBody>
        </p:sp>
        <p:sp>
          <p:nvSpPr>
            <p:cNvPr id="218120" name="Freeform 8"/>
            <p:cNvSpPr>
              <a:spLocks noChangeAspect="1"/>
            </p:cNvSpPr>
            <p:nvPr/>
          </p:nvSpPr>
          <p:spPr bwMode="auto">
            <a:xfrm>
              <a:off x="2708" y="1843"/>
              <a:ext cx="75" cy="54"/>
            </a:xfrm>
            <a:custGeom>
              <a:avLst/>
              <a:gdLst/>
              <a:ahLst/>
              <a:cxnLst>
                <a:cxn ang="0">
                  <a:pos x="16" y="40"/>
                </a:cxn>
                <a:cxn ang="0">
                  <a:pos x="16" y="40"/>
                </a:cxn>
                <a:cxn ang="0">
                  <a:pos x="0" y="54"/>
                </a:cxn>
                <a:cxn ang="0">
                  <a:pos x="79" y="22"/>
                </a:cxn>
                <a:cxn ang="0">
                  <a:pos x="81" y="0"/>
                </a:cxn>
                <a:cxn ang="0">
                  <a:pos x="16" y="40"/>
                </a:cxn>
              </a:cxnLst>
              <a:rect l="0" t="0" r="r" b="b"/>
              <a:pathLst>
                <a:path w="81" h="66">
                  <a:moveTo>
                    <a:pt x="16" y="40"/>
                  </a:moveTo>
                  <a:lnTo>
                    <a:pt x="16" y="40"/>
                  </a:lnTo>
                  <a:lnTo>
                    <a:pt x="0" y="54"/>
                  </a:lnTo>
                  <a:cubicBezTo>
                    <a:pt x="35" y="66"/>
                    <a:pt x="72" y="42"/>
                    <a:pt x="79" y="22"/>
                  </a:cubicBezTo>
                  <a:lnTo>
                    <a:pt x="81" y="0"/>
                  </a:lnTo>
                  <a:cubicBezTo>
                    <a:pt x="54" y="6"/>
                    <a:pt x="27" y="19"/>
                    <a:pt x="16" y="40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1F497D"/>
                </a:solidFill>
              </a:endParaRPr>
            </a:p>
          </p:txBody>
        </p:sp>
        <p:sp>
          <p:nvSpPr>
            <p:cNvPr id="218121" name="Freeform 9"/>
            <p:cNvSpPr>
              <a:spLocks noChangeAspect="1"/>
            </p:cNvSpPr>
            <p:nvPr/>
          </p:nvSpPr>
          <p:spPr bwMode="auto">
            <a:xfrm>
              <a:off x="2869" y="1972"/>
              <a:ext cx="65" cy="54"/>
            </a:xfrm>
            <a:custGeom>
              <a:avLst/>
              <a:gdLst/>
              <a:ahLst/>
              <a:cxnLst>
                <a:cxn ang="0">
                  <a:pos x="27" y="1"/>
                </a:cxn>
                <a:cxn ang="0">
                  <a:pos x="27" y="1"/>
                </a:cxn>
                <a:cxn ang="0">
                  <a:pos x="0" y="0"/>
                </a:cxn>
                <a:cxn ang="0">
                  <a:pos x="33" y="58"/>
                </a:cxn>
                <a:cxn ang="0">
                  <a:pos x="53" y="63"/>
                </a:cxn>
                <a:cxn ang="0">
                  <a:pos x="27" y="1"/>
                </a:cxn>
              </a:cxnLst>
              <a:rect l="0" t="0" r="r" b="b"/>
              <a:pathLst>
                <a:path w="81" h="63">
                  <a:moveTo>
                    <a:pt x="27" y="1"/>
                  </a:moveTo>
                  <a:lnTo>
                    <a:pt x="27" y="1"/>
                  </a:lnTo>
                  <a:lnTo>
                    <a:pt x="0" y="0"/>
                  </a:lnTo>
                  <a:cubicBezTo>
                    <a:pt x="0" y="24"/>
                    <a:pt x="8" y="43"/>
                    <a:pt x="33" y="58"/>
                  </a:cubicBezTo>
                  <a:lnTo>
                    <a:pt x="53" y="63"/>
                  </a:lnTo>
                  <a:cubicBezTo>
                    <a:pt x="81" y="39"/>
                    <a:pt x="44" y="15"/>
                    <a:pt x="27" y="1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1F497D"/>
                </a:solidFill>
              </a:endParaRPr>
            </a:p>
          </p:txBody>
        </p:sp>
        <p:sp>
          <p:nvSpPr>
            <p:cNvPr id="218122" name="Freeform 10"/>
            <p:cNvSpPr>
              <a:spLocks noChangeAspect="1"/>
            </p:cNvSpPr>
            <p:nvPr/>
          </p:nvSpPr>
          <p:spPr bwMode="auto">
            <a:xfrm>
              <a:off x="2622" y="1413"/>
              <a:ext cx="86" cy="75"/>
            </a:xfrm>
            <a:custGeom>
              <a:avLst/>
              <a:gdLst/>
              <a:ahLst/>
              <a:cxnLst>
                <a:cxn ang="0">
                  <a:pos x="20" y="50"/>
                </a:cxn>
                <a:cxn ang="0">
                  <a:pos x="20" y="50"/>
                </a:cxn>
                <a:cxn ang="0">
                  <a:pos x="0" y="64"/>
                </a:cxn>
                <a:cxn ang="0">
                  <a:pos x="89" y="27"/>
                </a:cxn>
                <a:cxn ang="0">
                  <a:pos x="96" y="0"/>
                </a:cxn>
                <a:cxn ang="0">
                  <a:pos x="20" y="50"/>
                </a:cxn>
              </a:cxnLst>
              <a:rect l="0" t="0" r="r" b="b"/>
              <a:pathLst>
                <a:path w="96" h="79">
                  <a:moveTo>
                    <a:pt x="20" y="50"/>
                  </a:moveTo>
                  <a:lnTo>
                    <a:pt x="20" y="50"/>
                  </a:lnTo>
                  <a:lnTo>
                    <a:pt x="0" y="64"/>
                  </a:lnTo>
                  <a:cubicBezTo>
                    <a:pt x="41" y="79"/>
                    <a:pt x="75" y="57"/>
                    <a:pt x="89" y="27"/>
                  </a:cubicBezTo>
                  <a:lnTo>
                    <a:pt x="96" y="0"/>
                  </a:lnTo>
                  <a:cubicBezTo>
                    <a:pt x="63" y="8"/>
                    <a:pt x="38" y="8"/>
                    <a:pt x="20" y="50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1F497D"/>
                </a:solidFill>
              </a:endParaRPr>
            </a:p>
          </p:txBody>
        </p:sp>
        <p:sp>
          <p:nvSpPr>
            <p:cNvPr id="218123" name="Freeform 11"/>
            <p:cNvSpPr>
              <a:spLocks noChangeAspect="1"/>
            </p:cNvSpPr>
            <p:nvPr/>
          </p:nvSpPr>
          <p:spPr bwMode="auto">
            <a:xfrm>
              <a:off x="2568" y="1563"/>
              <a:ext cx="75" cy="76"/>
            </a:xfrm>
            <a:custGeom>
              <a:avLst/>
              <a:gdLst/>
              <a:ahLst/>
              <a:cxnLst>
                <a:cxn ang="0">
                  <a:pos x="77" y="22"/>
                </a:cxn>
                <a:cxn ang="0">
                  <a:pos x="77" y="22"/>
                </a:cxn>
                <a:cxn ang="0">
                  <a:pos x="71" y="0"/>
                </a:cxn>
                <a:cxn ang="0">
                  <a:pos x="0" y="44"/>
                </a:cxn>
                <a:cxn ang="0">
                  <a:pos x="0" y="62"/>
                </a:cxn>
                <a:cxn ang="0">
                  <a:pos x="77" y="22"/>
                </a:cxn>
              </a:cxnLst>
              <a:rect l="0" t="0" r="r" b="b"/>
              <a:pathLst>
                <a:path w="77" h="77">
                  <a:moveTo>
                    <a:pt x="77" y="22"/>
                  </a:moveTo>
                  <a:lnTo>
                    <a:pt x="77" y="22"/>
                  </a:lnTo>
                  <a:lnTo>
                    <a:pt x="71" y="0"/>
                  </a:lnTo>
                  <a:cubicBezTo>
                    <a:pt x="38" y="7"/>
                    <a:pt x="14" y="19"/>
                    <a:pt x="0" y="44"/>
                  </a:cubicBezTo>
                  <a:lnTo>
                    <a:pt x="0" y="62"/>
                  </a:lnTo>
                  <a:cubicBezTo>
                    <a:pt x="42" y="77"/>
                    <a:pt x="64" y="40"/>
                    <a:pt x="77" y="22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1F497D"/>
                </a:solidFill>
              </a:endParaRPr>
            </a:p>
          </p:txBody>
        </p:sp>
        <p:sp>
          <p:nvSpPr>
            <p:cNvPr id="218124" name="Freeform 12"/>
            <p:cNvSpPr>
              <a:spLocks noChangeAspect="1"/>
            </p:cNvSpPr>
            <p:nvPr/>
          </p:nvSpPr>
          <p:spPr bwMode="auto">
            <a:xfrm>
              <a:off x="2547" y="1725"/>
              <a:ext cx="86" cy="64"/>
            </a:xfrm>
            <a:custGeom>
              <a:avLst/>
              <a:gdLst/>
              <a:ahLst/>
              <a:cxnLst>
                <a:cxn ang="0">
                  <a:pos x="0" y="52"/>
                </a:cxn>
                <a:cxn ang="0">
                  <a:pos x="0" y="52"/>
                </a:cxn>
                <a:cxn ang="0">
                  <a:pos x="14" y="60"/>
                </a:cxn>
                <a:cxn ang="0">
                  <a:pos x="73" y="23"/>
                </a:cxn>
                <a:cxn ang="0">
                  <a:pos x="90" y="8"/>
                </a:cxn>
                <a:cxn ang="0">
                  <a:pos x="0" y="52"/>
                </a:cxn>
              </a:cxnLst>
              <a:rect l="0" t="0" r="r" b="b"/>
              <a:pathLst>
                <a:path w="90" h="74">
                  <a:moveTo>
                    <a:pt x="0" y="52"/>
                  </a:moveTo>
                  <a:lnTo>
                    <a:pt x="0" y="52"/>
                  </a:lnTo>
                  <a:lnTo>
                    <a:pt x="14" y="60"/>
                  </a:lnTo>
                  <a:cubicBezTo>
                    <a:pt x="59" y="74"/>
                    <a:pt x="62" y="38"/>
                    <a:pt x="73" y="23"/>
                  </a:cubicBezTo>
                  <a:lnTo>
                    <a:pt x="90" y="8"/>
                  </a:lnTo>
                  <a:cubicBezTo>
                    <a:pt x="48" y="0"/>
                    <a:pt x="11" y="31"/>
                    <a:pt x="0" y="52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1F497D"/>
                </a:solidFill>
              </a:endParaRPr>
            </a:p>
          </p:txBody>
        </p:sp>
        <p:sp>
          <p:nvSpPr>
            <p:cNvPr id="218125" name="Freeform 13"/>
            <p:cNvSpPr>
              <a:spLocks noChangeAspect="1"/>
            </p:cNvSpPr>
            <p:nvPr/>
          </p:nvSpPr>
          <p:spPr bwMode="auto">
            <a:xfrm>
              <a:off x="2773" y="1176"/>
              <a:ext cx="86" cy="75"/>
            </a:xfrm>
            <a:custGeom>
              <a:avLst/>
              <a:gdLst/>
              <a:ahLst/>
              <a:cxnLst>
                <a:cxn ang="0">
                  <a:pos x="16" y="4"/>
                </a:cxn>
                <a:cxn ang="0">
                  <a:pos x="16" y="4"/>
                </a:cxn>
                <a:cxn ang="0">
                  <a:pos x="0" y="12"/>
                </a:cxn>
                <a:cxn ang="0">
                  <a:pos x="86" y="49"/>
                </a:cxn>
                <a:cxn ang="0">
                  <a:pos x="88" y="22"/>
                </a:cxn>
                <a:cxn ang="0">
                  <a:pos x="16" y="4"/>
                </a:cxn>
              </a:cxnLst>
              <a:rect l="0" t="0" r="r" b="b"/>
              <a:pathLst>
                <a:path w="88" h="72">
                  <a:moveTo>
                    <a:pt x="16" y="4"/>
                  </a:moveTo>
                  <a:lnTo>
                    <a:pt x="16" y="4"/>
                  </a:lnTo>
                  <a:lnTo>
                    <a:pt x="0" y="12"/>
                  </a:lnTo>
                  <a:cubicBezTo>
                    <a:pt x="4" y="40"/>
                    <a:pt x="70" y="72"/>
                    <a:pt x="86" y="49"/>
                  </a:cubicBezTo>
                  <a:lnTo>
                    <a:pt x="88" y="22"/>
                  </a:lnTo>
                  <a:cubicBezTo>
                    <a:pt x="67" y="8"/>
                    <a:pt x="45" y="0"/>
                    <a:pt x="16" y="4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1F497D"/>
                </a:solidFill>
              </a:endParaRPr>
            </a:p>
          </p:txBody>
        </p:sp>
        <p:sp>
          <p:nvSpPr>
            <p:cNvPr id="218126" name="Freeform 14"/>
            <p:cNvSpPr>
              <a:spLocks noChangeAspect="1"/>
            </p:cNvSpPr>
            <p:nvPr/>
          </p:nvSpPr>
          <p:spPr bwMode="auto">
            <a:xfrm>
              <a:off x="2955" y="1111"/>
              <a:ext cx="76" cy="87"/>
            </a:xfrm>
            <a:custGeom>
              <a:avLst/>
              <a:gdLst/>
              <a:ahLst/>
              <a:cxnLst>
                <a:cxn ang="0">
                  <a:pos x="46" y="7"/>
                </a:cxn>
                <a:cxn ang="0">
                  <a:pos x="46" y="7"/>
                </a:cxn>
                <a:cxn ang="0">
                  <a:pos x="21" y="0"/>
                </a:cxn>
                <a:cxn ang="0">
                  <a:pos x="14" y="66"/>
                </a:cxn>
                <a:cxn ang="0">
                  <a:pos x="27" y="92"/>
                </a:cxn>
                <a:cxn ang="0">
                  <a:pos x="46" y="7"/>
                </a:cxn>
              </a:cxnLst>
              <a:rect l="0" t="0" r="r" b="b"/>
              <a:pathLst>
                <a:path w="86" h="92">
                  <a:moveTo>
                    <a:pt x="46" y="7"/>
                  </a:moveTo>
                  <a:lnTo>
                    <a:pt x="46" y="7"/>
                  </a:lnTo>
                  <a:lnTo>
                    <a:pt x="21" y="0"/>
                  </a:lnTo>
                  <a:cubicBezTo>
                    <a:pt x="7" y="19"/>
                    <a:pt x="0" y="33"/>
                    <a:pt x="14" y="66"/>
                  </a:cubicBezTo>
                  <a:lnTo>
                    <a:pt x="27" y="92"/>
                  </a:lnTo>
                  <a:cubicBezTo>
                    <a:pt x="57" y="63"/>
                    <a:pt x="86" y="36"/>
                    <a:pt x="46" y="7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1F497D"/>
                </a:solidFill>
              </a:endParaRPr>
            </a:p>
          </p:txBody>
        </p:sp>
        <p:sp>
          <p:nvSpPr>
            <p:cNvPr id="218127" name="Freeform 15"/>
            <p:cNvSpPr>
              <a:spLocks noChangeAspect="1" noEditPoints="1"/>
            </p:cNvSpPr>
            <p:nvPr/>
          </p:nvSpPr>
          <p:spPr bwMode="auto">
            <a:xfrm>
              <a:off x="3149" y="929"/>
              <a:ext cx="667" cy="1678"/>
            </a:xfrm>
            <a:custGeom>
              <a:avLst/>
              <a:gdLst/>
              <a:ahLst/>
              <a:cxnLst>
                <a:cxn ang="0">
                  <a:pos x="451" y="808"/>
                </a:cxn>
                <a:cxn ang="0">
                  <a:pos x="451" y="808"/>
                </a:cxn>
                <a:cxn ang="0">
                  <a:pos x="326" y="776"/>
                </a:cxn>
                <a:cxn ang="0">
                  <a:pos x="477" y="746"/>
                </a:cxn>
                <a:cxn ang="0">
                  <a:pos x="493" y="773"/>
                </a:cxn>
                <a:cxn ang="0">
                  <a:pos x="451" y="808"/>
                </a:cxn>
                <a:cxn ang="0">
                  <a:pos x="451" y="808"/>
                </a:cxn>
                <a:cxn ang="0">
                  <a:pos x="639" y="841"/>
                </a:cxn>
                <a:cxn ang="0">
                  <a:pos x="639" y="841"/>
                </a:cxn>
                <a:cxn ang="0">
                  <a:pos x="601" y="701"/>
                </a:cxn>
                <a:cxn ang="0">
                  <a:pos x="634" y="646"/>
                </a:cxn>
                <a:cxn ang="0">
                  <a:pos x="627" y="477"/>
                </a:cxn>
                <a:cxn ang="0">
                  <a:pos x="641" y="463"/>
                </a:cxn>
                <a:cxn ang="0">
                  <a:pos x="627" y="414"/>
                </a:cxn>
                <a:cxn ang="0">
                  <a:pos x="615" y="342"/>
                </a:cxn>
                <a:cxn ang="0">
                  <a:pos x="590" y="286"/>
                </a:cxn>
                <a:cxn ang="0">
                  <a:pos x="602" y="260"/>
                </a:cxn>
                <a:cxn ang="0">
                  <a:pos x="560" y="236"/>
                </a:cxn>
                <a:cxn ang="0">
                  <a:pos x="523" y="213"/>
                </a:cxn>
                <a:cxn ang="0">
                  <a:pos x="514" y="180"/>
                </a:cxn>
                <a:cxn ang="0">
                  <a:pos x="483" y="195"/>
                </a:cxn>
                <a:cxn ang="0">
                  <a:pos x="476" y="154"/>
                </a:cxn>
                <a:cxn ang="0">
                  <a:pos x="434" y="171"/>
                </a:cxn>
                <a:cxn ang="0">
                  <a:pos x="411" y="119"/>
                </a:cxn>
                <a:cxn ang="0">
                  <a:pos x="389" y="124"/>
                </a:cxn>
                <a:cxn ang="0">
                  <a:pos x="356" y="150"/>
                </a:cxn>
                <a:cxn ang="0">
                  <a:pos x="356" y="101"/>
                </a:cxn>
                <a:cxn ang="0">
                  <a:pos x="341" y="93"/>
                </a:cxn>
                <a:cxn ang="0">
                  <a:pos x="314" y="81"/>
                </a:cxn>
                <a:cxn ang="0">
                  <a:pos x="276" y="97"/>
                </a:cxn>
                <a:cxn ang="0">
                  <a:pos x="292" y="51"/>
                </a:cxn>
                <a:cxn ang="0">
                  <a:pos x="244" y="106"/>
                </a:cxn>
                <a:cxn ang="0">
                  <a:pos x="216" y="112"/>
                </a:cxn>
                <a:cxn ang="0">
                  <a:pos x="266" y="43"/>
                </a:cxn>
                <a:cxn ang="0">
                  <a:pos x="214" y="91"/>
                </a:cxn>
                <a:cxn ang="0">
                  <a:pos x="173" y="98"/>
                </a:cxn>
                <a:cxn ang="0">
                  <a:pos x="186" y="38"/>
                </a:cxn>
                <a:cxn ang="0">
                  <a:pos x="173" y="69"/>
                </a:cxn>
                <a:cxn ang="0">
                  <a:pos x="166" y="36"/>
                </a:cxn>
                <a:cxn ang="0">
                  <a:pos x="142" y="114"/>
                </a:cxn>
                <a:cxn ang="0">
                  <a:pos x="126" y="39"/>
                </a:cxn>
                <a:cxn ang="0">
                  <a:pos x="80" y="112"/>
                </a:cxn>
                <a:cxn ang="0">
                  <a:pos x="56" y="117"/>
                </a:cxn>
                <a:cxn ang="0">
                  <a:pos x="37" y="43"/>
                </a:cxn>
                <a:cxn ang="0">
                  <a:pos x="5" y="1808"/>
                </a:cxn>
                <a:cxn ang="0">
                  <a:pos x="0" y="1840"/>
                </a:cxn>
                <a:cxn ang="0">
                  <a:pos x="162" y="1823"/>
                </a:cxn>
                <a:cxn ang="0">
                  <a:pos x="529" y="1842"/>
                </a:cxn>
                <a:cxn ang="0">
                  <a:pos x="614" y="1829"/>
                </a:cxn>
                <a:cxn ang="0">
                  <a:pos x="421" y="1778"/>
                </a:cxn>
                <a:cxn ang="0">
                  <a:pos x="272" y="1664"/>
                </a:cxn>
                <a:cxn ang="0">
                  <a:pos x="237" y="1566"/>
                </a:cxn>
                <a:cxn ang="0">
                  <a:pos x="239" y="1432"/>
                </a:cxn>
                <a:cxn ang="0">
                  <a:pos x="315" y="1404"/>
                </a:cxn>
                <a:cxn ang="0">
                  <a:pos x="586" y="1387"/>
                </a:cxn>
                <a:cxn ang="0">
                  <a:pos x="605" y="1286"/>
                </a:cxn>
                <a:cxn ang="0">
                  <a:pos x="609" y="1223"/>
                </a:cxn>
                <a:cxn ang="0">
                  <a:pos x="630" y="1174"/>
                </a:cxn>
                <a:cxn ang="0">
                  <a:pos x="590" y="1133"/>
                </a:cxn>
                <a:cxn ang="0">
                  <a:pos x="650" y="1082"/>
                </a:cxn>
                <a:cxn ang="0">
                  <a:pos x="621" y="1018"/>
                </a:cxn>
                <a:cxn ang="0">
                  <a:pos x="704" y="959"/>
                </a:cxn>
                <a:cxn ang="0">
                  <a:pos x="639" y="841"/>
                </a:cxn>
              </a:cxnLst>
              <a:rect l="0" t="0" r="r" b="b"/>
              <a:pathLst>
                <a:path w="724" h="1845">
                  <a:moveTo>
                    <a:pt x="451" y="808"/>
                  </a:moveTo>
                  <a:lnTo>
                    <a:pt x="451" y="808"/>
                  </a:lnTo>
                  <a:cubicBezTo>
                    <a:pt x="397" y="820"/>
                    <a:pt x="315" y="783"/>
                    <a:pt x="326" y="776"/>
                  </a:cubicBezTo>
                  <a:cubicBezTo>
                    <a:pt x="353" y="757"/>
                    <a:pt x="416" y="725"/>
                    <a:pt x="477" y="746"/>
                  </a:cubicBezTo>
                  <a:cubicBezTo>
                    <a:pt x="488" y="750"/>
                    <a:pt x="492" y="760"/>
                    <a:pt x="493" y="773"/>
                  </a:cubicBezTo>
                  <a:cubicBezTo>
                    <a:pt x="496" y="804"/>
                    <a:pt x="471" y="805"/>
                    <a:pt x="451" y="808"/>
                  </a:cubicBezTo>
                  <a:lnTo>
                    <a:pt x="451" y="808"/>
                  </a:lnTo>
                  <a:close/>
                  <a:moveTo>
                    <a:pt x="639" y="841"/>
                  </a:moveTo>
                  <a:lnTo>
                    <a:pt x="639" y="841"/>
                  </a:lnTo>
                  <a:cubicBezTo>
                    <a:pt x="610" y="803"/>
                    <a:pt x="557" y="751"/>
                    <a:pt x="601" y="701"/>
                  </a:cubicBezTo>
                  <a:cubicBezTo>
                    <a:pt x="624" y="684"/>
                    <a:pt x="631" y="670"/>
                    <a:pt x="634" y="646"/>
                  </a:cubicBezTo>
                  <a:cubicBezTo>
                    <a:pt x="644" y="560"/>
                    <a:pt x="639" y="524"/>
                    <a:pt x="627" y="477"/>
                  </a:cubicBezTo>
                  <a:cubicBezTo>
                    <a:pt x="629" y="473"/>
                    <a:pt x="638" y="478"/>
                    <a:pt x="641" y="463"/>
                  </a:cubicBezTo>
                  <a:cubicBezTo>
                    <a:pt x="650" y="422"/>
                    <a:pt x="627" y="414"/>
                    <a:pt x="627" y="414"/>
                  </a:cubicBezTo>
                  <a:cubicBezTo>
                    <a:pt x="645" y="399"/>
                    <a:pt x="643" y="342"/>
                    <a:pt x="615" y="342"/>
                  </a:cubicBezTo>
                  <a:cubicBezTo>
                    <a:pt x="631" y="317"/>
                    <a:pt x="617" y="277"/>
                    <a:pt x="590" y="286"/>
                  </a:cubicBezTo>
                  <a:cubicBezTo>
                    <a:pt x="590" y="286"/>
                    <a:pt x="604" y="278"/>
                    <a:pt x="602" y="260"/>
                  </a:cubicBezTo>
                  <a:cubicBezTo>
                    <a:pt x="599" y="224"/>
                    <a:pt x="547" y="259"/>
                    <a:pt x="560" y="236"/>
                  </a:cubicBezTo>
                  <a:cubicBezTo>
                    <a:pt x="567" y="223"/>
                    <a:pt x="538" y="180"/>
                    <a:pt x="523" y="213"/>
                  </a:cubicBezTo>
                  <a:cubicBezTo>
                    <a:pt x="515" y="207"/>
                    <a:pt x="529" y="187"/>
                    <a:pt x="514" y="180"/>
                  </a:cubicBezTo>
                  <a:cubicBezTo>
                    <a:pt x="504" y="181"/>
                    <a:pt x="495" y="188"/>
                    <a:pt x="483" y="195"/>
                  </a:cubicBezTo>
                  <a:cubicBezTo>
                    <a:pt x="479" y="181"/>
                    <a:pt x="494" y="174"/>
                    <a:pt x="476" y="154"/>
                  </a:cubicBezTo>
                  <a:cubicBezTo>
                    <a:pt x="452" y="138"/>
                    <a:pt x="451" y="162"/>
                    <a:pt x="434" y="171"/>
                  </a:cubicBezTo>
                  <a:cubicBezTo>
                    <a:pt x="404" y="164"/>
                    <a:pt x="476" y="146"/>
                    <a:pt x="411" y="119"/>
                  </a:cubicBezTo>
                  <a:cubicBezTo>
                    <a:pt x="395" y="159"/>
                    <a:pt x="396" y="130"/>
                    <a:pt x="389" y="124"/>
                  </a:cubicBezTo>
                  <a:cubicBezTo>
                    <a:pt x="384" y="121"/>
                    <a:pt x="375" y="131"/>
                    <a:pt x="356" y="150"/>
                  </a:cubicBezTo>
                  <a:cubicBezTo>
                    <a:pt x="366" y="124"/>
                    <a:pt x="388" y="92"/>
                    <a:pt x="356" y="101"/>
                  </a:cubicBezTo>
                  <a:cubicBezTo>
                    <a:pt x="320" y="117"/>
                    <a:pt x="341" y="96"/>
                    <a:pt x="341" y="93"/>
                  </a:cubicBezTo>
                  <a:cubicBezTo>
                    <a:pt x="372" y="79"/>
                    <a:pt x="312" y="45"/>
                    <a:pt x="314" y="81"/>
                  </a:cubicBezTo>
                  <a:cubicBezTo>
                    <a:pt x="313" y="105"/>
                    <a:pt x="261" y="126"/>
                    <a:pt x="276" y="97"/>
                  </a:cubicBezTo>
                  <a:cubicBezTo>
                    <a:pt x="286" y="60"/>
                    <a:pt x="331" y="116"/>
                    <a:pt x="292" y="51"/>
                  </a:cubicBezTo>
                  <a:cubicBezTo>
                    <a:pt x="268" y="78"/>
                    <a:pt x="248" y="96"/>
                    <a:pt x="244" y="106"/>
                  </a:cubicBezTo>
                  <a:cubicBezTo>
                    <a:pt x="225" y="181"/>
                    <a:pt x="236" y="113"/>
                    <a:pt x="216" y="112"/>
                  </a:cubicBezTo>
                  <a:cubicBezTo>
                    <a:pt x="242" y="94"/>
                    <a:pt x="276" y="63"/>
                    <a:pt x="266" y="43"/>
                  </a:cubicBezTo>
                  <a:cubicBezTo>
                    <a:pt x="237" y="41"/>
                    <a:pt x="172" y="87"/>
                    <a:pt x="214" y="91"/>
                  </a:cubicBezTo>
                  <a:cubicBezTo>
                    <a:pt x="211" y="106"/>
                    <a:pt x="187" y="123"/>
                    <a:pt x="173" y="98"/>
                  </a:cubicBezTo>
                  <a:cubicBezTo>
                    <a:pt x="196" y="92"/>
                    <a:pt x="235" y="15"/>
                    <a:pt x="186" y="38"/>
                  </a:cubicBezTo>
                  <a:cubicBezTo>
                    <a:pt x="181" y="42"/>
                    <a:pt x="181" y="56"/>
                    <a:pt x="173" y="69"/>
                  </a:cubicBezTo>
                  <a:cubicBezTo>
                    <a:pt x="161" y="58"/>
                    <a:pt x="170" y="42"/>
                    <a:pt x="166" y="36"/>
                  </a:cubicBezTo>
                  <a:cubicBezTo>
                    <a:pt x="127" y="0"/>
                    <a:pt x="141" y="93"/>
                    <a:pt x="142" y="114"/>
                  </a:cubicBezTo>
                  <a:cubicBezTo>
                    <a:pt x="92" y="82"/>
                    <a:pt x="139" y="91"/>
                    <a:pt x="126" y="39"/>
                  </a:cubicBezTo>
                  <a:cubicBezTo>
                    <a:pt x="84" y="47"/>
                    <a:pt x="73" y="64"/>
                    <a:pt x="80" y="112"/>
                  </a:cubicBezTo>
                  <a:cubicBezTo>
                    <a:pt x="74" y="123"/>
                    <a:pt x="63" y="149"/>
                    <a:pt x="56" y="117"/>
                  </a:cubicBezTo>
                  <a:cubicBezTo>
                    <a:pt x="79" y="87"/>
                    <a:pt x="77" y="44"/>
                    <a:pt x="37" y="43"/>
                  </a:cubicBezTo>
                  <a:cubicBezTo>
                    <a:pt x="101" y="631"/>
                    <a:pt x="97" y="1225"/>
                    <a:pt x="5" y="1808"/>
                  </a:cubicBezTo>
                  <a:lnTo>
                    <a:pt x="0" y="1840"/>
                  </a:lnTo>
                  <a:cubicBezTo>
                    <a:pt x="46" y="1839"/>
                    <a:pt x="113" y="1825"/>
                    <a:pt x="162" y="1823"/>
                  </a:cubicBezTo>
                  <a:cubicBezTo>
                    <a:pt x="301" y="1827"/>
                    <a:pt x="298" y="1845"/>
                    <a:pt x="529" y="1842"/>
                  </a:cubicBezTo>
                  <a:cubicBezTo>
                    <a:pt x="582" y="1837"/>
                    <a:pt x="597" y="1829"/>
                    <a:pt x="614" y="1829"/>
                  </a:cubicBezTo>
                  <a:cubicBezTo>
                    <a:pt x="597" y="1758"/>
                    <a:pt x="481" y="1798"/>
                    <a:pt x="421" y="1778"/>
                  </a:cubicBezTo>
                  <a:cubicBezTo>
                    <a:pt x="321" y="1768"/>
                    <a:pt x="304" y="1708"/>
                    <a:pt x="272" y="1664"/>
                  </a:cubicBezTo>
                  <a:cubicBezTo>
                    <a:pt x="258" y="1639"/>
                    <a:pt x="237" y="1608"/>
                    <a:pt x="237" y="1566"/>
                  </a:cubicBezTo>
                  <a:cubicBezTo>
                    <a:pt x="230" y="1513"/>
                    <a:pt x="240" y="1484"/>
                    <a:pt x="239" y="1432"/>
                  </a:cubicBezTo>
                  <a:cubicBezTo>
                    <a:pt x="243" y="1393"/>
                    <a:pt x="287" y="1401"/>
                    <a:pt x="315" y="1404"/>
                  </a:cubicBezTo>
                  <a:cubicBezTo>
                    <a:pt x="402" y="1413"/>
                    <a:pt x="547" y="1399"/>
                    <a:pt x="586" y="1387"/>
                  </a:cubicBezTo>
                  <a:cubicBezTo>
                    <a:pt x="641" y="1371"/>
                    <a:pt x="642" y="1337"/>
                    <a:pt x="605" y="1286"/>
                  </a:cubicBezTo>
                  <a:cubicBezTo>
                    <a:pt x="597" y="1261"/>
                    <a:pt x="598" y="1245"/>
                    <a:pt x="609" y="1223"/>
                  </a:cubicBezTo>
                  <a:cubicBezTo>
                    <a:pt x="625" y="1206"/>
                    <a:pt x="644" y="1195"/>
                    <a:pt x="630" y="1174"/>
                  </a:cubicBezTo>
                  <a:cubicBezTo>
                    <a:pt x="630" y="1174"/>
                    <a:pt x="504" y="1147"/>
                    <a:pt x="590" y="1133"/>
                  </a:cubicBezTo>
                  <a:cubicBezTo>
                    <a:pt x="679" y="1118"/>
                    <a:pt x="650" y="1082"/>
                    <a:pt x="650" y="1082"/>
                  </a:cubicBezTo>
                  <a:cubicBezTo>
                    <a:pt x="650" y="1082"/>
                    <a:pt x="635" y="1045"/>
                    <a:pt x="621" y="1018"/>
                  </a:cubicBezTo>
                  <a:cubicBezTo>
                    <a:pt x="611" y="998"/>
                    <a:pt x="695" y="991"/>
                    <a:pt x="704" y="959"/>
                  </a:cubicBezTo>
                  <a:cubicBezTo>
                    <a:pt x="724" y="932"/>
                    <a:pt x="661" y="871"/>
                    <a:pt x="639" y="841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1F497D"/>
                </a:solidFill>
              </a:endParaRPr>
            </a:p>
          </p:txBody>
        </p:sp>
        <p:sp>
          <p:nvSpPr>
            <p:cNvPr id="218128" name="Freeform 16"/>
            <p:cNvSpPr>
              <a:spLocks noChangeAspect="1"/>
            </p:cNvSpPr>
            <p:nvPr/>
          </p:nvSpPr>
          <p:spPr bwMode="auto">
            <a:xfrm>
              <a:off x="1352" y="681"/>
              <a:ext cx="1829" cy="3153"/>
            </a:xfrm>
            <a:custGeom>
              <a:avLst/>
              <a:gdLst/>
              <a:ahLst/>
              <a:cxnLst>
                <a:cxn ang="0">
                  <a:pos x="1974" y="2106"/>
                </a:cxn>
                <a:cxn ang="0">
                  <a:pos x="0" y="3449"/>
                </a:cxn>
                <a:cxn ang="0">
                  <a:pos x="1972" y="0"/>
                </a:cxn>
                <a:cxn ang="0">
                  <a:pos x="1980" y="347"/>
                </a:cxn>
                <a:cxn ang="0">
                  <a:pos x="1982" y="392"/>
                </a:cxn>
                <a:cxn ang="0">
                  <a:pos x="1923" y="324"/>
                </a:cxn>
                <a:cxn ang="0">
                  <a:pos x="1878" y="384"/>
                </a:cxn>
                <a:cxn ang="0">
                  <a:pos x="1858" y="411"/>
                </a:cxn>
                <a:cxn ang="0">
                  <a:pos x="1823" y="348"/>
                </a:cxn>
                <a:cxn ang="0">
                  <a:pos x="1766" y="359"/>
                </a:cxn>
                <a:cxn ang="0">
                  <a:pos x="1702" y="494"/>
                </a:cxn>
                <a:cxn ang="0">
                  <a:pos x="1680" y="420"/>
                </a:cxn>
                <a:cxn ang="0">
                  <a:pos x="1605" y="427"/>
                </a:cxn>
                <a:cxn ang="0">
                  <a:pos x="1609" y="499"/>
                </a:cxn>
                <a:cxn ang="0">
                  <a:pos x="1520" y="498"/>
                </a:cxn>
                <a:cxn ang="0">
                  <a:pos x="1513" y="560"/>
                </a:cxn>
                <a:cxn ang="0">
                  <a:pos x="1407" y="521"/>
                </a:cxn>
                <a:cxn ang="0">
                  <a:pos x="1521" y="578"/>
                </a:cxn>
                <a:cxn ang="0">
                  <a:pos x="1453" y="612"/>
                </a:cxn>
                <a:cxn ang="0">
                  <a:pos x="1441" y="603"/>
                </a:cxn>
                <a:cxn ang="0">
                  <a:pos x="1404" y="640"/>
                </a:cxn>
                <a:cxn ang="0">
                  <a:pos x="1448" y="632"/>
                </a:cxn>
                <a:cxn ang="0">
                  <a:pos x="1433" y="703"/>
                </a:cxn>
                <a:cxn ang="0">
                  <a:pos x="1392" y="719"/>
                </a:cxn>
                <a:cxn ang="0">
                  <a:pos x="1410" y="785"/>
                </a:cxn>
                <a:cxn ang="0">
                  <a:pos x="1321" y="761"/>
                </a:cxn>
                <a:cxn ang="0">
                  <a:pos x="1255" y="760"/>
                </a:cxn>
                <a:cxn ang="0">
                  <a:pos x="1205" y="829"/>
                </a:cxn>
                <a:cxn ang="0">
                  <a:pos x="1350" y="845"/>
                </a:cxn>
                <a:cxn ang="0">
                  <a:pos x="1308" y="881"/>
                </a:cxn>
                <a:cxn ang="0">
                  <a:pos x="1308" y="953"/>
                </a:cxn>
                <a:cxn ang="0">
                  <a:pos x="1358" y="951"/>
                </a:cxn>
                <a:cxn ang="0">
                  <a:pos x="1319" y="1061"/>
                </a:cxn>
                <a:cxn ang="0">
                  <a:pos x="1324" y="1115"/>
                </a:cxn>
                <a:cxn ang="0">
                  <a:pos x="1283" y="1185"/>
                </a:cxn>
                <a:cxn ang="0">
                  <a:pos x="1257" y="1226"/>
                </a:cxn>
                <a:cxn ang="0">
                  <a:pos x="1285" y="1267"/>
                </a:cxn>
                <a:cxn ang="0">
                  <a:pos x="1314" y="1311"/>
                </a:cxn>
                <a:cxn ang="0">
                  <a:pos x="1363" y="1376"/>
                </a:cxn>
                <a:cxn ang="0">
                  <a:pos x="1438" y="1413"/>
                </a:cxn>
                <a:cxn ang="0">
                  <a:pos x="1494" y="1379"/>
                </a:cxn>
                <a:cxn ang="0">
                  <a:pos x="1513" y="1471"/>
                </a:cxn>
                <a:cxn ang="0">
                  <a:pos x="1605" y="1474"/>
                </a:cxn>
                <a:cxn ang="0">
                  <a:pos x="1584" y="1525"/>
                </a:cxn>
                <a:cxn ang="0">
                  <a:pos x="1618" y="1559"/>
                </a:cxn>
                <a:cxn ang="0">
                  <a:pos x="1644" y="1602"/>
                </a:cxn>
                <a:cxn ang="0">
                  <a:pos x="1700" y="1594"/>
                </a:cxn>
                <a:cxn ang="0">
                  <a:pos x="1729" y="1535"/>
                </a:cxn>
                <a:cxn ang="0">
                  <a:pos x="1794" y="1574"/>
                </a:cxn>
                <a:cxn ang="0">
                  <a:pos x="1808" y="1711"/>
                </a:cxn>
                <a:cxn ang="0">
                  <a:pos x="1870" y="1688"/>
                </a:cxn>
                <a:cxn ang="0">
                  <a:pos x="1839" y="1844"/>
                </a:cxn>
                <a:cxn ang="0">
                  <a:pos x="1446" y="2092"/>
                </a:cxn>
                <a:cxn ang="0">
                  <a:pos x="1654" y="2103"/>
                </a:cxn>
                <a:cxn ang="0">
                  <a:pos x="1974" y="2105"/>
                </a:cxn>
              </a:cxnLst>
              <a:rect l="0" t="0" r="r" b="b"/>
              <a:pathLst>
                <a:path w="2011" h="3449">
                  <a:moveTo>
                    <a:pt x="1974" y="2106"/>
                  </a:moveTo>
                  <a:lnTo>
                    <a:pt x="1974" y="2106"/>
                  </a:lnTo>
                  <a:cubicBezTo>
                    <a:pt x="1903" y="2543"/>
                    <a:pt x="1782" y="2987"/>
                    <a:pt x="1602" y="3449"/>
                  </a:cubicBezTo>
                  <a:lnTo>
                    <a:pt x="0" y="3449"/>
                  </a:lnTo>
                  <a:lnTo>
                    <a:pt x="0" y="0"/>
                  </a:lnTo>
                  <a:lnTo>
                    <a:pt x="1972" y="0"/>
                  </a:lnTo>
                  <a:cubicBezTo>
                    <a:pt x="1988" y="113"/>
                    <a:pt x="1999" y="197"/>
                    <a:pt x="2011" y="309"/>
                  </a:cubicBezTo>
                  <a:cubicBezTo>
                    <a:pt x="2011" y="309"/>
                    <a:pt x="1977" y="320"/>
                    <a:pt x="1980" y="347"/>
                  </a:cubicBezTo>
                  <a:cubicBezTo>
                    <a:pt x="1984" y="378"/>
                    <a:pt x="1997" y="385"/>
                    <a:pt x="1997" y="385"/>
                  </a:cubicBezTo>
                  <a:lnTo>
                    <a:pt x="1982" y="392"/>
                  </a:lnTo>
                  <a:cubicBezTo>
                    <a:pt x="1982" y="392"/>
                    <a:pt x="1966" y="368"/>
                    <a:pt x="1966" y="369"/>
                  </a:cubicBezTo>
                  <a:cubicBezTo>
                    <a:pt x="1966" y="346"/>
                    <a:pt x="1976" y="311"/>
                    <a:pt x="1923" y="324"/>
                  </a:cubicBezTo>
                  <a:cubicBezTo>
                    <a:pt x="1904" y="365"/>
                    <a:pt x="1952" y="373"/>
                    <a:pt x="1939" y="401"/>
                  </a:cubicBezTo>
                  <a:cubicBezTo>
                    <a:pt x="1883" y="404"/>
                    <a:pt x="1923" y="359"/>
                    <a:pt x="1878" y="384"/>
                  </a:cubicBezTo>
                  <a:cubicBezTo>
                    <a:pt x="1881" y="371"/>
                    <a:pt x="1871" y="336"/>
                    <a:pt x="1857" y="339"/>
                  </a:cubicBezTo>
                  <a:cubicBezTo>
                    <a:pt x="1851" y="358"/>
                    <a:pt x="1836" y="391"/>
                    <a:pt x="1858" y="411"/>
                  </a:cubicBezTo>
                  <a:cubicBezTo>
                    <a:pt x="1851" y="416"/>
                    <a:pt x="1830" y="413"/>
                    <a:pt x="1825" y="406"/>
                  </a:cubicBezTo>
                  <a:cubicBezTo>
                    <a:pt x="1819" y="396"/>
                    <a:pt x="1840" y="379"/>
                    <a:pt x="1823" y="348"/>
                  </a:cubicBezTo>
                  <a:cubicBezTo>
                    <a:pt x="1771" y="371"/>
                    <a:pt x="1819" y="421"/>
                    <a:pt x="1776" y="440"/>
                  </a:cubicBezTo>
                  <a:cubicBezTo>
                    <a:pt x="1729" y="434"/>
                    <a:pt x="1803" y="394"/>
                    <a:pt x="1766" y="359"/>
                  </a:cubicBezTo>
                  <a:cubicBezTo>
                    <a:pt x="1723" y="369"/>
                    <a:pt x="1707" y="413"/>
                    <a:pt x="1724" y="439"/>
                  </a:cubicBezTo>
                  <a:cubicBezTo>
                    <a:pt x="1723" y="462"/>
                    <a:pt x="1705" y="474"/>
                    <a:pt x="1702" y="494"/>
                  </a:cubicBezTo>
                  <a:cubicBezTo>
                    <a:pt x="1681" y="491"/>
                    <a:pt x="1672" y="483"/>
                    <a:pt x="1670" y="475"/>
                  </a:cubicBezTo>
                  <a:cubicBezTo>
                    <a:pt x="1667" y="460"/>
                    <a:pt x="1708" y="453"/>
                    <a:pt x="1680" y="420"/>
                  </a:cubicBezTo>
                  <a:cubicBezTo>
                    <a:pt x="1635" y="427"/>
                    <a:pt x="1665" y="500"/>
                    <a:pt x="1629" y="461"/>
                  </a:cubicBezTo>
                  <a:cubicBezTo>
                    <a:pt x="1626" y="444"/>
                    <a:pt x="1614" y="429"/>
                    <a:pt x="1605" y="427"/>
                  </a:cubicBezTo>
                  <a:cubicBezTo>
                    <a:pt x="1588" y="439"/>
                    <a:pt x="1580" y="459"/>
                    <a:pt x="1591" y="476"/>
                  </a:cubicBezTo>
                  <a:lnTo>
                    <a:pt x="1609" y="499"/>
                  </a:lnTo>
                  <a:cubicBezTo>
                    <a:pt x="1607" y="499"/>
                    <a:pt x="1617" y="513"/>
                    <a:pt x="1615" y="512"/>
                  </a:cubicBezTo>
                  <a:cubicBezTo>
                    <a:pt x="1585" y="488"/>
                    <a:pt x="1545" y="471"/>
                    <a:pt x="1520" y="498"/>
                  </a:cubicBezTo>
                  <a:cubicBezTo>
                    <a:pt x="1523" y="523"/>
                    <a:pt x="1545" y="525"/>
                    <a:pt x="1579" y="533"/>
                  </a:cubicBezTo>
                  <a:cubicBezTo>
                    <a:pt x="1536" y="537"/>
                    <a:pt x="1527" y="552"/>
                    <a:pt x="1513" y="560"/>
                  </a:cubicBezTo>
                  <a:cubicBezTo>
                    <a:pt x="1508" y="532"/>
                    <a:pt x="1475" y="527"/>
                    <a:pt x="1444" y="523"/>
                  </a:cubicBezTo>
                  <a:cubicBezTo>
                    <a:pt x="1426" y="527"/>
                    <a:pt x="1415" y="515"/>
                    <a:pt x="1407" y="521"/>
                  </a:cubicBezTo>
                  <a:cubicBezTo>
                    <a:pt x="1420" y="553"/>
                    <a:pt x="1451" y="578"/>
                    <a:pt x="1490" y="586"/>
                  </a:cubicBezTo>
                  <a:cubicBezTo>
                    <a:pt x="1507" y="584"/>
                    <a:pt x="1509" y="584"/>
                    <a:pt x="1521" y="578"/>
                  </a:cubicBezTo>
                  <a:cubicBezTo>
                    <a:pt x="1544" y="588"/>
                    <a:pt x="1542" y="592"/>
                    <a:pt x="1548" y="608"/>
                  </a:cubicBezTo>
                  <a:cubicBezTo>
                    <a:pt x="1514" y="623"/>
                    <a:pt x="1487" y="604"/>
                    <a:pt x="1453" y="612"/>
                  </a:cubicBezTo>
                  <a:cubicBezTo>
                    <a:pt x="1453" y="614"/>
                    <a:pt x="1445" y="614"/>
                    <a:pt x="1444" y="611"/>
                  </a:cubicBezTo>
                  <a:cubicBezTo>
                    <a:pt x="1445" y="611"/>
                    <a:pt x="1440" y="603"/>
                    <a:pt x="1441" y="603"/>
                  </a:cubicBezTo>
                  <a:cubicBezTo>
                    <a:pt x="1426" y="575"/>
                    <a:pt x="1387" y="586"/>
                    <a:pt x="1366" y="592"/>
                  </a:cubicBezTo>
                  <a:cubicBezTo>
                    <a:pt x="1363" y="614"/>
                    <a:pt x="1386" y="632"/>
                    <a:pt x="1404" y="640"/>
                  </a:cubicBezTo>
                  <a:cubicBezTo>
                    <a:pt x="1429" y="649"/>
                    <a:pt x="1438" y="641"/>
                    <a:pt x="1438" y="641"/>
                  </a:cubicBezTo>
                  <a:lnTo>
                    <a:pt x="1448" y="632"/>
                  </a:lnTo>
                  <a:cubicBezTo>
                    <a:pt x="1459" y="672"/>
                    <a:pt x="1473" y="674"/>
                    <a:pt x="1494" y="690"/>
                  </a:cubicBezTo>
                  <a:cubicBezTo>
                    <a:pt x="1471" y="698"/>
                    <a:pt x="1462" y="705"/>
                    <a:pt x="1433" y="703"/>
                  </a:cubicBezTo>
                  <a:cubicBezTo>
                    <a:pt x="1400" y="652"/>
                    <a:pt x="1301" y="630"/>
                    <a:pt x="1305" y="654"/>
                  </a:cubicBezTo>
                  <a:cubicBezTo>
                    <a:pt x="1319" y="706"/>
                    <a:pt x="1392" y="719"/>
                    <a:pt x="1392" y="719"/>
                  </a:cubicBezTo>
                  <a:cubicBezTo>
                    <a:pt x="1392" y="719"/>
                    <a:pt x="1354" y="733"/>
                    <a:pt x="1360" y="746"/>
                  </a:cubicBezTo>
                  <a:cubicBezTo>
                    <a:pt x="1367" y="758"/>
                    <a:pt x="1417" y="766"/>
                    <a:pt x="1410" y="785"/>
                  </a:cubicBezTo>
                  <a:cubicBezTo>
                    <a:pt x="1358" y="762"/>
                    <a:pt x="1348" y="771"/>
                    <a:pt x="1383" y="817"/>
                  </a:cubicBezTo>
                  <a:cubicBezTo>
                    <a:pt x="1339" y="819"/>
                    <a:pt x="1349" y="772"/>
                    <a:pt x="1321" y="761"/>
                  </a:cubicBezTo>
                  <a:cubicBezTo>
                    <a:pt x="1301" y="775"/>
                    <a:pt x="1313" y="806"/>
                    <a:pt x="1313" y="806"/>
                  </a:cubicBezTo>
                  <a:cubicBezTo>
                    <a:pt x="1303" y="798"/>
                    <a:pt x="1277" y="754"/>
                    <a:pt x="1255" y="760"/>
                  </a:cubicBezTo>
                  <a:cubicBezTo>
                    <a:pt x="1248" y="765"/>
                    <a:pt x="1248" y="789"/>
                    <a:pt x="1265" y="805"/>
                  </a:cubicBezTo>
                  <a:cubicBezTo>
                    <a:pt x="1244" y="809"/>
                    <a:pt x="1210" y="806"/>
                    <a:pt x="1205" y="829"/>
                  </a:cubicBezTo>
                  <a:cubicBezTo>
                    <a:pt x="1239" y="855"/>
                    <a:pt x="1276" y="855"/>
                    <a:pt x="1329" y="849"/>
                  </a:cubicBezTo>
                  <a:cubicBezTo>
                    <a:pt x="1329" y="849"/>
                    <a:pt x="1339" y="848"/>
                    <a:pt x="1350" y="845"/>
                  </a:cubicBezTo>
                  <a:cubicBezTo>
                    <a:pt x="1360" y="842"/>
                    <a:pt x="1375" y="856"/>
                    <a:pt x="1375" y="856"/>
                  </a:cubicBezTo>
                  <a:cubicBezTo>
                    <a:pt x="1349" y="862"/>
                    <a:pt x="1360" y="870"/>
                    <a:pt x="1308" y="881"/>
                  </a:cubicBezTo>
                  <a:cubicBezTo>
                    <a:pt x="1274" y="897"/>
                    <a:pt x="1247" y="918"/>
                    <a:pt x="1247" y="953"/>
                  </a:cubicBezTo>
                  <a:cubicBezTo>
                    <a:pt x="1268" y="963"/>
                    <a:pt x="1294" y="973"/>
                    <a:pt x="1308" y="953"/>
                  </a:cubicBezTo>
                  <a:cubicBezTo>
                    <a:pt x="1331" y="920"/>
                    <a:pt x="1324" y="946"/>
                    <a:pt x="1340" y="945"/>
                  </a:cubicBezTo>
                  <a:lnTo>
                    <a:pt x="1358" y="951"/>
                  </a:lnTo>
                  <a:cubicBezTo>
                    <a:pt x="1344" y="986"/>
                    <a:pt x="1264" y="985"/>
                    <a:pt x="1279" y="1011"/>
                  </a:cubicBezTo>
                  <a:cubicBezTo>
                    <a:pt x="1295" y="1035"/>
                    <a:pt x="1319" y="1061"/>
                    <a:pt x="1319" y="1061"/>
                  </a:cubicBezTo>
                  <a:cubicBezTo>
                    <a:pt x="1319" y="1061"/>
                    <a:pt x="1263" y="1032"/>
                    <a:pt x="1247" y="1053"/>
                  </a:cubicBezTo>
                  <a:cubicBezTo>
                    <a:pt x="1232" y="1071"/>
                    <a:pt x="1265" y="1102"/>
                    <a:pt x="1324" y="1115"/>
                  </a:cubicBezTo>
                  <a:cubicBezTo>
                    <a:pt x="1304" y="1128"/>
                    <a:pt x="1233" y="1115"/>
                    <a:pt x="1276" y="1160"/>
                  </a:cubicBezTo>
                  <a:cubicBezTo>
                    <a:pt x="1225" y="1181"/>
                    <a:pt x="1242" y="1196"/>
                    <a:pt x="1283" y="1185"/>
                  </a:cubicBezTo>
                  <a:lnTo>
                    <a:pt x="1303" y="1188"/>
                  </a:lnTo>
                  <a:cubicBezTo>
                    <a:pt x="1291" y="1196"/>
                    <a:pt x="1254" y="1213"/>
                    <a:pt x="1257" y="1226"/>
                  </a:cubicBezTo>
                  <a:cubicBezTo>
                    <a:pt x="1259" y="1243"/>
                    <a:pt x="1300" y="1222"/>
                    <a:pt x="1307" y="1235"/>
                  </a:cubicBezTo>
                  <a:cubicBezTo>
                    <a:pt x="1310" y="1254"/>
                    <a:pt x="1287" y="1262"/>
                    <a:pt x="1285" y="1267"/>
                  </a:cubicBezTo>
                  <a:cubicBezTo>
                    <a:pt x="1314" y="1286"/>
                    <a:pt x="1331" y="1241"/>
                    <a:pt x="1358" y="1267"/>
                  </a:cubicBezTo>
                  <a:cubicBezTo>
                    <a:pt x="1348" y="1286"/>
                    <a:pt x="1305" y="1282"/>
                    <a:pt x="1314" y="1311"/>
                  </a:cubicBezTo>
                  <a:cubicBezTo>
                    <a:pt x="1330" y="1323"/>
                    <a:pt x="1357" y="1318"/>
                    <a:pt x="1373" y="1329"/>
                  </a:cubicBezTo>
                  <a:cubicBezTo>
                    <a:pt x="1373" y="1329"/>
                    <a:pt x="1351" y="1371"/>
                    <a:pt x="1363" y="1376"/>
                  </a:cubicBezTo>
                  <a:cubicBezTo>
                    <a:pt x="1386" y="1388"/>
                    <a:pt x="1408" y="1351"/>
                    <a:pt x="1416" y="1349"/>
                  </a:cubicBezTo>
                  <a:cubicBezTo>
                    <a:pt x="1410" y="1396"/>
                    <a:pt x="1450" y="1380"/>
                    <a:pt x="1438" y="1413"/>
                  </a:cubicBezTo>
                  <a:cubicBezTo>
                    <a:pt x="1438" y="1430"/>
                    <a:pt x="1436" y="1454"/>
                    <a:pt x="1454" y="1463"/>
                  </a:cubicBezTo>
                  <a:cubicBezTo>
                    <a:pt x="1491" y="1452"/>
                    <a:pt x="1495" y="1423"/>
                    <a:pt x="1494" y="1379"/>
                  </a:cubicBezTo>
                  <a:cubicBezTo>
                    <a:pt x="1494" y="1364"/>
                    <a:pt x="1537" y="1389"/>
                    <a:pt x="1537" y="1389"/>
                  </a:cubicBezTo>
                  <a:cubicBezTo>
                    <a:pt x="1563" y="1410"/>
                    <a:pt x="1492" y="1426"/>
                    <a:pt x="1513" y="1471"/>
                  </a:cubicBezTo>
                  <a:cubicBezTo>
                    <a:pt x="1573" y="1479"/>
                    <a:pt x="1573" y="1428"/>
                    <a:pt x="1621" y="1419"/>
                  </a:cubicBezTo>
                  <a:cubicBezTo>
                    <a:pt x="1643" y="1433"/>
                    <a:pt x="1612" y="1457"/>
                    <a:pt x="1605" y="1474"/>
                  </a:cubicBezTo>
                  <a:cubicBezTo>
                    <a:pt x="1575" y="1491"/>
                    <a:pt x="1538" y="1471"/>
                    <a:pt x="1509" y="1530"/>
                  </a:cubicBezTo>
                  <a:cubicBezTo>
                    <a:pt x="1551" y="1546"/>
                    <a:pt x="1570" y="1533"/>
                    <a:pt x="1584" y="1525"/>
                  </a:cubicBezTo>
                  <a:cubicBezTo>
                    <a:pt x="1597" y="1516"/>
                    <a:pt x="1596" y="1511"/>
                    <a:pt x="1606" y="1507"/>
                  </a:cubicBezTo>
                  <a:cubicBezTo>
                    <a:pt x="1607" y="1523"/>
                    <a:pt x="1603" y="1553"/>
                    <a:pt x="1618" y="1559"/>
                  </a:cubicBezTo>
                  <a:cubicBezTo>
                    <a:pt x="1632" y="1558"/>
                    <a:pt x="1633" y="1553"/>
                    <a:pt x="1645" y="1546"/>
                  </a:cubicBezTo>
                  <a:cubicBezTo>
                    <a:pt x="1657" y="1558"/>
                    <a:pt x="1626" y="1589"/>
                    <a:pt x="1644" y="1602"/>
                  </a:cubicBezTo>
                  <a:cubicBezTo>
                    <a:pt x="1661" y="1599"/>
                    <a:pt x="1667" y="1583"/>
                    <a:pt x="1667" y="1583"/>
                  </a:cubicBezTo>
                  <a:cubicBezTo>
                    <a:pt x="1677" y="1597"/>
                    <a:pt x="1689" y="1597"/>
                    <a:pt x="1700" y="1594"/>
                  </a:cubicBezTo>
                  <a:cubicBezTo>
                    <a:pt x="1706" y="1579"/>
                    <a:pt x="1707" y="1545"/>
                    <a:pt x="1688" y="1533"/>
                  </a:cubicBezTo>
                  <a:cubicBezTo>
                    <a:pt x="1697" y="1522"/>
                    <a:pt x="1720" y="1543"/>
                    <a:pt x="1729" y="1535"/>
                  </a:cubicBezTo>
                  <a:cubicBezTo>
                    <a:pt x="1748" y="1557"/>
                    <a:pt x="1707" y="1600"/>
                    <a:pt x="1737" y="1618"/>
                  </a:cubicBezTo>
                  <a:cubicBezTo>
                    <a:pt x="1766" y="1615"/>
                    <a:pt x="1765" y="1586"/>
                    <a:pt x="1794" y="1574"/>
                  </a:cubicBezTo>
                  <a:cubicBezTo>
                    <a:pt x="1789" y="1604"/>
                    <a:pt x="1824" y="1626"/>
                    <a:pt x="1779" y="1648"/>
                  </a:cubicBezTo>
                  <a:cubicBezTo>
                    <a:pt x="1779" y="1677"/>
                    <a:pt x="1834" y="1669"/>
                    <a:pt x="1808" y="1711"/>
                  </a:cubicBezTo>
                  <a:cubicBezTo>
                    <a:pt x="1818" y="1728"/>
                    <a:pt x="1831" y="1721"/>
                    <a:pt x="1843" y="1718"/>
                  </a:cubicBezTo>
                  <a:lnTo>
                    <a:pt x="1870" y="1688"/>
                  </a:lnTo>
                  <a:cubicBezTo>
                    <a:pt x="1862" y="1712"/>
                    <a:pt x="1860" y="1750"/>
                    <a:pt x="1867" y="1777"/>
                  </a:cubicBezTo>
                  <a:cubicBezTo>
                    <a:pt x="1858" y="1800"/>
                    <a:pt x="1879" y="1825"/>
                    <a:pt x="1839" y="1844"/>
                  </a:cubicBezTo>
                  <a:cubicBezTo>
                    <a:pt x="1828" y="1900"/>
                    <a:pt x="1827" y="1956"/>
                    <a:pt x="1763" y="1992"/>
                  </a:cubicBezTo>
                  <a:cubicBezTo>
                    <a:pt x="1726" y="2060"/>
                    <a:pt x="1497" y="2024"/>
                    <a:pt x="1446" y="2092"/>
                  </a:cubicBezTo>
                  <a:cubicBezTo>
                    <a:pt x="1459" y="2104"/>
                    <a:pt x="1576" y="2100"/>
                    <a:pt x="1591" y="2096"/>
                  </a:cubicBezTo>
                  <a:cubicBezTo>
                    <a:pt x="1613" y="2085"/>
                    <a:pt x="1631" y="2104"/>
                    <a:pt x="1654" y="2103"/>
                  </a:cubicBezTo>
                  <a:cubicBezTo>
                    <a:pt x="1705" y="2103"/>
                    <a:pt x="1767" y="2086"/>
                    <a:pt x="1809" y="2103"/>
                  </a:cubicBezTo>
                  <a:cubicBezTo>
                    <a:pt x="1869" y="2103"/>
                    <a:pt x="1920" y="2105"/>
                    <a:pt x="1974" y="2105"/>
                  </a:cubicBezTo>
                  <a:lnTo>
                    <a:pt x="1974" y="2106"/>
                  </a:ln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1F497D"/>
                </a:solidFill>
              </a:endParaRPr>
            </a:p>
          </p:txBody>
        </p:sp>
        <p:sp>
          <p:nvSpPr>
            <p:cNvPr id="218129" name="Freeform 17"/>
            <p:cNvSpPr>
              <a:spLocks noChangeAspect="1" noEditPoints="1"/>
            </p:cNvSpPr>
            <p:nvPr/>
          </p:nvSpPr>
          <p:spPr bwMode="auto">
            <a:xfrm>
              <a:off x="3235" y="2758"/>
              <a:ext cx="581" cy="570"/>
            </a:xfrm>
            <a:custGeom>
              <a:avLst/>
              <a:gdLst/>
              <a:ahLst/>
              <a:cxnLst>
                <a:cxn ang="0">
                  <a:pos x="321" y="621"/>
                </a:cxn>
                <a:cxn ang="0">
                  <a:pos x="321" y="621"/>
                </a:cxn>
                <a:cxn ang="0">
                  <a:pos x="639" y="307"/>
                </a:cxn>
                <a:cxn ang="0">
                  <a:pos x="321" y="0"/>
                </a:cxn>
                <a:cxn ang="0">
                  <a:pos x="0" y="307"/>
                </a:cxn>
                <a:cxn ang="0">
                  <a:pos x="321" y="621"/>
                </a:cxn>
                <a:cxn ang="0">
                  <a:pos x="321" y="621"/>
                </a:cxn>
                <a:cxn ang="0">
                  <a:pos x="162" y="307"/>
                </a:cxn>
                <a:cxn ang="0">
                  <a:pos x="162" y="307"/>
                </a:cxn>
                <a:cxn ang="0">
                  <a:pos x="321" y="125"/>
                </a:cxn>
                <a:cxn ang="0">
                  <a:pos x="477" y="307"/>
                </a:cxn>
                <a:cxn ang="0">
                  <a:pos x="321" y="495"/>
                </a:cxn>
                <a:cxn ang="0">
                  <a:pos x="162" y="307"/>
                </a:cxn>
              </a:cxnLst>
              <a:rect l="0" t="0" r="r" b="b"/>
              <a:pathLst>
                <a:path w="639" h="621">
                  <a:moveTo>
                    <a:pt x="321" y="621"/>
                  </a:moveTo>
                  <a:lnTo>
                    <a:pt x="321" y="621"/>
                  </a:lnTo>
                  <a:cubicBezTo>
                    <a:pt x="512" y="621"/>
                    <a:pt x="639" y="480"/>
                    <a:pt x="639" y="307"/>
                  </a:cubicBezTo>
                  <a:cubicBezTo>
                    <a:pt x="639" y="124"/>
                    <a:pt x="511" y="0"/>
                    <a:pt x="321" y="0"/>
                  </a:cubicBezTo>
                  <a:cubicBezTo>
                    <a:pt x="130" y="0"/>
                    <a:pt x="0" y="121"/>
                    <a:pt x="0" y="307"/>
                  </a:cubicBezTo>
                  <a:cubicBezTo>
                    <a:pt x="0" y="489"/>
                    <a:pt x="132" y="621"/>
                    <a:pt x="321" y="621"/>
                  </a:cubicBezTo>
                  <a:lnTo>
                    <a:pt x="321" y="621"/>
                  </a:lnTo>
                  <a:close/>
                  <a:moveTo>
                    <a:pt x="162" y="307"/>
                  </a:moveTo>
                  <a:lnTo>
                    <a:pt x="162" y="307"/>
                  </a:lnTo>
                  <a:cubicBezTo>
                    <a:pt x="162" y="198"/>
                    <a:pt x="214" y="125"/>
                    <a:pt x="321" y="125"/>
                  </a:cubicBezTo>
                  <a:cubicBezTo>
                    <a:pt x="425" y="125"/>
                    <a:pt x="477" y="192"/>
                    <a:pt x="477" y="307"/>
                  </a:cubicBezTo>
                  <a:cubicBezTo>
                    <a:pt x="477" y="413"/>
                    <a:pt x="426" y="495"/>
                    <a:pt x="321" y="495"/>
                  </a:cubicBezTo>
                  <a:cubicBezTo>
                    <a:pt x="220" y="495"/>
                    <a:pt x="162" y="415"/>
                    <a:pt x="162" y="307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1F497D"/>
                </a:solidFill>
              </a:endParaRPr>
            </a:p>
          </p:txBody>
        </p:sp>
        <p:sp>
          <p:nvSpPr>
            <p:cNvPr id="218130" name="Freeform 18"/>
            <p:cNvSpPr>
              <a:spLocks noChangeAspect="1"/>
            </p:cNvSpPr>
            <p:nvPr/>
          </p:nvSpPr>
          <p:spPr bwMode="auto">
            <a:xfrm>
              <a:off x="3892" y="2758"/>
              <a:ext cx="409" cy="570"/>
            </a:xfrm>
            <a:custGeom>
              <a:avLst/>
              <a:gdLst/>
              <a:ahLst/>
              <a:cxnLst>
                <a:cxn ang="0">
                  <a:pos x="377" y="128"/>
                </a:cxn>
                <a:cxn ang="0">
                  <a:pos x="377" y="128"/>
                </a:cxn>
                <a:cxn ang="0">
                  <a:pos x="270" y="114"/>
                </a:cxn>
                <a:cxn ang="0">
                  <a:pos x="163" y="160"/>
                </a:cxn>
                <a:cxn ang="0">
                  <a:pos x="290" y="260"/>
                </a:cxn>
                <a:cxn ang="0">
                  <a:pos x="441" y="443"/>
                </a:cxn>
                <a:cxn ang="0">
                  <a:pos x="187" y="621"/>
                </a:cxn>
                <a:cxn ang="0">
                  <a:pos x="11" y="594"/>
                </a:cxn>
                <a:cxn ang="0">
                  <a:pos x="11" y="469"/>
                </a:cxn>
                <a:cxn ang="0">
                  <a:pos x="193" y="506"/>
                </a:cxn>
                <a:cxn ang="0">
                  <a:pos x="279" y="448"/>
                </a:cxn>
                <a:cxn ang="0">
                  <a:pos x="153" y="349"/>
                </a:cxn>
                <a:cxn ang="0">
                  <a:pos x="0" y="160"/>
                </a:cxn>
                <a:cxn ang="0">
                  <a:pos x="243" y="0"/>
                </a:cxn>
                <a:cxn ang="0">
                  <a:pos x="377" y="10"/>
                </a:cxn>
                <a:cxn ang="0">
                  <a:pos x="377" y="128"/>
                </a:cxn>
              </a:cxnLst>
              <a:rect l="0" t="0" r="r" b="b"/>
              <a:pathLst>
                <a:path w="441" h="621">
                  <a:moveTo>
                    <a:pt x="377" y="128"/>
                  </a:moveTo>
                  <a:lnTo>
                    <a:pt x="377" y="128"/>
                  </a:lnTo>
                  <a:cubicBezTo>
                    <a:pt x="341" y="122"/>
                    <a:pt x="306" y="114"/>
                    <a:pt x="270" y="114"/>
                  </a:cubicBezTo>
                  <a:cubicBezTo>
                    <a:pt x="207" y="114"/>
                    <a:pt x="163" y="129"/>
                    <a:pt x="163" y="160"/>
                  </a:cubicBezTo>
                  <a:cubicBezTo>
                    <a:pt x="163" y="195"/>
                    <a:pt x="223" y="224"/>
                    <a:pt x="290" y="260"/>
                  </a:cubicBezTo>
                  <a:cubicBezTo>
                    <a:pt x="353" y="294"/>
                    <a:pt x="441" y="340"/>
                    <a:pt x="441" y="443"/>
                  </a:cubicBezTo>
                  <a:cubicBezTo>
                    <a:pt x="441" y="557"/>
                    <a:pt x="340" y="621"/>
                    <a:pt x="187" y="621"/>
                  </a:cubicBezTo>
                  <a:cubicBezTo>
                    <a:pt x="117" y="621"/>
                    <a:pt x="69" y="607"/>
                    <a:pt x="11" y="594"/>
                  </a:cubicBezTo>
                  <a:lnTo>
                    <a:pt x="11" y="469"/>
                  </a:lnTo>
                  <a:cubicBezTo>
                    <a:pt x="56" y="482"/>
                    <a:pt x="128" y="506"/>
                    <a:pt x="193" y="506"/>
                  </a:cubicBezTo>
                  <a:cubicBezTo>
                    <a:pt x="236" y="506"/>
                    <a:pt x="279" y="487"/>
                    <a:pt x="279" y="448"/>
                  </a:cubicBezTo>
                  <a:cubicBezTo>
                    <a:pt x="279" y="412"/>
                    <a:pt x="227" y="391"/>
                    <a:pt x="153" y="349"/>
                  </a:cubicBezTo>
                  <a:cubicBezTo>
                    <a:pt x="86" y="316"/>
                    <a:pt x="0" y="247"/>
                    <a:pt x="0" y="160"/>
                  </a:cubicBezTo>
                  <a:cubicBezTo>
                    <a:pt x="0" y="57"/>
                    <a:pt x="104" y="0"/>
                    <a:pt x="243" y="0"/>
                  </a:cubicBezTo>
                  <a:cubicBezTo>
                    <a:pt x="288" y="0"/>
                    <a:pt x="333" y="4"/>
                    <a:pt x="377" y="10"/>
                  </a:cubicBezTo>
                  <a:lnTo>
                    <a:pt x="377" y="128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1F497D"/>
                </a:solidFill>
              </a:endParaRPr>
            </a:p>
          </p:txBody>
        </p:sp>
        <p:sp>
          <p:nvSpPr>
            <p:cNvPr id="218131" name="Freeform 19"/>
            <p:cNvSpPr>
              <a:spLocks noChangeAspect="1"/>
            </p:cNvSpPr>
            <p:nvPr/>
          </p:nvSpPr>
          <p:spPr bwMode="auto">
            <a:xfrm>
              <a:off x="1772" y="2564"/>
              <a:ext cx="215" cy="743"/>
            </a:xfrm>
            <a:custGeom>
              <a:avLst/>
              <a:gdLst/>
              <a:ahLst/>
              <a:cxnLst>
                <a:cxn ang="0">
                  <a:pos x="18" y="817"/>
                </a:cxn>
                <a:cxn ang="0">
                  <a:pos x="18" y="817"/>
                </a:cxn>
                <a:cxn ang="0">
                  <a:pos x="24" y="606"/>
                </a:cxn>
                <a:cxn ang="0">
                  <a:pos x="24" y="287"/>
                </a:cxn>
                <a:cxn ang="0">
                  <a:pos x="0" y="0"/>
                </a:cxn>
                <a:cxn ang="0">
                  <a:pos x="211" y="0"/>
                </a:cxn>
                <a:cxn ang="0">
                  <a:pos x="205" y="232"/>
                </a:cxn>
                <a:cxn ang="0">
                  <a:pos x="205" y="530"/>
                </a:cxn>
                <a:cxn ang="0">
                  <a:pos x="229" y="817"/>
                </a:cxn>
                <a:cxn ang="0">
                  <a:pos x="18" y="817"/>
                </a:cxn>
              </a:cxnLst>
              <a:rect l="0" t="0" r="r" b="b"/>
              <a:pathLst>
                <a:path w="229" h="817">
                  <a:moveTo>
                    <a:pt x="18" y="817"/>
                  </a:moveTo>
                  <a:lnTo>
                    <a:pt x="18" y="817"/>
                  </a:lnTo>
                  <a:cubicBezTo>
                    <a:pt x="22" y="750"/>
                    <a:pt x="24" y="699"/>
                    <a:pt x="24" y="606"/>
                  </a:cubicBezTo>
                  <a:lnTo>
                    <a:pt x="24" y="287"/>
                  </a:lnTo>
                  <a:cubicBezTo>
                    <a:pt x="24" y="172"/>
                    <a:pt x="17" y="85"/>
                    <a:pt x="0" y="0"/>
                  </a:cubicBezTo>
                  <a:lnTo>
                    <a:pt x="211" y="0"/>
                  </a:lnTo>
                  <a:cubicBezTo>
                    <a:pt x="211" y="59"/>
                    <a:pt x="205" y="140"/>
                    <a:pt x="205" y="232"/>
                  </a:cubicBezTo>
                  <a:lnTo>
                    <a:pt x="205" y="530"/>
                  </a:lnTo>
                  <a:cubicBezTo>
                    <a:pt x="205" y="614"/>
                    <a:pt x="218" y="739"/>
                    <a:pt x="229" y="817"/>
                  </a:cubicBezTo>
                  <a:lnTo>
                    <a:pt x="18" y="817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1F497D"/>
                </a:solidFill>
              </a:endParaRPr>
            </a:p>
          </p:txBody>
        </p:sp>
        <p:sp>
          <p:nvSpPr>
            <p:cNvPr id="218132" name="Freeform 20"/>
            <p:cNvSpPr>
              <a:spLocks noChangeAspect="1" noEditPoints="1"/>
            </p:cNvSpPr>
            <p:nvPr/>
          </p:nvSpPr>
          <p:spPr bwMode="auto">
            <a:xfrm>
              <a:off x="2095" y="2758"/>
              <a:ext cx="602" cy="785"/>
            </a:xfrm>
            <a:custGeom>
              <a:avLst/>
              <a:gdLst/>
              <a:ahLst/>
              <a:cxnLst>
                <a:cxn ang="0">
                  <a:pos x="210" y="851"/>
                </a:cxn>
                <a:cxn ang="0">
                  <a:pos x="210" y="851"/>
                </a:cxn>
                <a:cxn ang="0">
                  <a:pos x="198" y="632"/>
                </a:cxn>
                <a:cxn ang="0">
                  <a:pos x="198" y="564"/>
                </a:cxn>
                <a:cxn ang="0">
                  <a:pos x="385" y="621"/>
                </a:cxn>
                <a:cxn ang="0">
                  <a:pos x="662" y="322"/>
                </a:cxn>
                <a:cxn ang="0">
                  <a:pos x="378" y="0"/>
                </a:cxn>
                <a:cxn ang="0">
                  <a:pos x="174" y="98"/>
                </a:cxn>
                <a:cxn ang="0">
                  <a:pos x="153" y="15"/>
                </a:cxn>
                <a:cxn ang="0">
                  <a:pos x="0" y="26"/>
                </a:cxn>
                <a:cxn ang="0">
                  <a:pos x="36" y="323"/>
                </a:cxn>
                <a:cxn ang="0">
                  <a:pos x="36" y="564"/>
                </a:cxn>
                <a:cxn ang="0">
                  <a:pos x="12" y="863"/>
                </a:cxn>
                <a:cxn ang="0">
                  <a:pos x="210" y="851"/>
                </a:cxn>
                <a:cxn ang="0">
                  <a:pos x="210" y="851"/>
                </a:cxn>
                <a:cxn ang="0">
                  <a:pos x="186" y="323"/>
                </a:cxn>
                <a:cxn ang="0">
                  <a:pos x="186" y="323"/>
                </a:cxn>
                <a:cxn ang="0">
                  <a:pos x="338" y="125"/>
                </a:cxn>
                <a:cxn ang="0">
                  <a:pos x="500" y="323"/>
                </a:cxn>
                <a:cxn ang="0">
                  <a:pos x="345" y="495"/>
                </a:cxn>
                <a:cxn ang="0">
                  <a:pos x="186" y="323"/>
                </a:cxn>
              </a:cxnLst>
              <a:rect l="0" t="0" r="r" b="b"/>
              <a:pathLst>
                <a:path w="662" h="863">
                  <a:moveTo>
                    <a:pt x="210" y="851"/>
                  </a:moveTo>
                  <a:lnTo>
                    <a:pt x="210" y="851"/>
                  </a:lnTo>
                  <a:cubicBezTo>
                    <a:pt x="198" y="763"/>
                    <a:pt x="198" y="664"/>
                    <a:pt x="198" y="632"/>
                  </a:cubicBezTo>
                  <a:lnTo>
                    <a:pt x="198" y="564"/>
                  </a:lnTo>
                  <a:cubicBezTo>
                    <a:pt x="242" y="589"/>
                    <a:pt x="288" y="621"/>
                    <a:pt x="385" y="621"/>
                  </a:cubicBezTo>
                  <a:cubicBezTo>
                    <a:pt x="550" y="621"/>
                    <a:pt x="662" y="495"/>
                    <a:pt x="662" y="322"/>
                  </a:cubicBezTo>
                  <a:cubicBezTo>
                    <a:pt x="662" y="134"/>
                    <a:pt x="546" y="0"/>
                    <a:pt x="378" y="0"/>
                  </a:cubicBezTo>
                  <a:cubicBezTo>
                    <a:pt x="261" y="0"/>
                    <a:pt x="213" y="56"/>
                    <a:pt x="174" y="98"/>
                  </a:cubicBezTo>
                  <a:cubicBezTo>
                    <a:pt x="166" y="67"/>
                    <a:pt x="162" y="41"/>
                    <a:pt x="153" y="15"/>
                  </a:cubicBezTo>
                  <a:lnTo>
                    <a:pt x="0" y="26"/>
                  </a:lnTo>
                  <a:cubicBezTo>
                    <a:pt x="19" y="127"/>
                    <a:pt x="36" y="220"/>
                    <a:pt x="36" y="323"/>
                  </a:cubicBezTo>
                  <a:lnTo>
                    <a:pt x="36" y="564"/>
                  </a:lnTo>
                  <a:cubicBezTo>
                    <a:pt x="36" y="648"/>
                    <a:pt x="18" y="808"/>
                    <a:pt x="12" y="863"/>
                  </a:cubicBezTo>
                  <a:lnTo>
                    <a:pt x="210" y="851"/>
                  </a:lnTo>
                  <a:lnTo>
                    <a:pt x="210" y="851"/>
                  </a:lnTo>
                  <a:close/>
                  <a:moveTo>
                    <a:pt x="186" y="323"/>
                  </a:moveTo>
                  <a:lnTo>
                    <a:pt x="186" y="323"/>
                  </a:lnTo>
                  <a:cubicBezTo>
                    <a:pt x="186" y="206"/>
                    <a:pt x="236" y="125"/>
                    <a:pt x="338" y="125"/>
                  </a:cubicBezTo>
                  <a:cubicBezTo>
                    <a:pt x="433" y="125"/>
                    <a:pt x="500" y="207"/>
                    <a:pt x="500" y="323"/>
                  </a:cubicBezTo>
                  <a:cubicBezTo>
                    <a:pt x="500" y="426"/>
                    <a:pt x="448" y="495"/>
                    <a:pt x="345" y="495"/>
                  </a:cubicBezTo>
                  <a:cubicBezTo>
                    <a:pt x="244" y="495"/>
                    <a:pt x="186" y="437"/>
                    <a:pt x="186" y="323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1F497D"/>
                </a:solidFill>
              </a:endParaRPr>
            </a:p>
          </p:txBody>
        </p:sp>
        <p:sp>
          <p:nvSpPr>
            <p:cNvPr id="218133" name="Freeform 21"/>
            <p:cNvSpPr>
              <a:spLocks noChangeAspect="1"/>
            </p:cNvSpPr>
            <p:nvPr/>
          </p:nvSpPr>
          <p:spPr bwMode="auto">
            <a:xfrm>
              <a:off x="2773" y="2758"/>
              <a:ext cx="398" cy="570"/>
            </a:xfrm>
            <a:custGeom>
              <a:avLst/>
              <a:gdLst/>
              <a:ahLst/>
              <a:cxnLst>
                <a:cxn ang="0">
                  <a:pos x="364" y="126"/>
                </a:cxn>
                <a:cxn ang="0">
                  <a:pos x="364" y="126"/>
                </a:cxn>
                <a:cxn ang="0">
                  <a:pos x="270" y="114"/>
                </a:cxn>
                <a:cxn ang="0">
                  <a:pos x="162" y="160"/>
                </a:cxn>
                <a:cxn ang="0">
                  <a:pos x="289" y="260"/>
                </a:cxn>
                <a:cxn ang="0">
                  <a:pos x="440" y="443"/>
                </a:cxn>
                <a:cxn ang="0">
                  <a:pos x="186" y="621"/>
                </a:cxn>
                <a:cxn ang="0">
                  <a:pos x="11" y="594"/>
                </a:cxn>
                <a:cxn ang="0">
                  <a:pos x="11" y="469"/>
                </a:cxn>
                <a:cxn ang="0">
                  <a:pos x="192" y="506"/>
                </a:cxn>
                <a:cxn ang="0">
                  <a:pos x="278" y="448"/>
                </a:cxn>
                <a:cxn ang="0">
                  <a:pos x="152" y="349"/>
                </a:cxn>
                <a:cxn ang="0">
                  <a:pos x="0" y="160"/>
                </a:cxn>
                <a:cxn ang="0">
                  <a:pos x="242" y="0"/>
                </a:cxn>
                <a:cxn ang="0">
                  <a:pos x="387" y="12"/>
                </a:cxn>
                <a:cxn ang="0">
                  <a:pos x="364" y="126"/>
                </a:cxn>
              </a:cxnLst>
              <a:rect l="0" t="0" r="r" b="b"/>
              <a:pathLst>
                <a:path w="440" h="621">
                  <a:moveTo>
                    <a:pt x="364" y="126"/>
                  </a:moveTo>
                  <a:lnTo>
                    <a:pt x="364" y="126"/>
                  </a:lnTo>
                  <a:cubicBezTo>
                    <a:pt x="328" y="120"/>
                    <a:pt x="306" y="114"/>
                    <a:pt x="270" y="114"/>
                  </a:cubicBezTo>
                  <a:cubicBezTo>
                    <a:pt x="206" y="114"/>
                    <a:pt x="162" y="129"/>
                    <a:pt x="162" y="160"/>
                  </a:cubicBezTo>
                  <a:cubicBezTo>
                    <a:pt x="162" y="195"/>
                    <a:pt x="222" y="224"/>
                    <a:pt x="289" y="260"/>
                  </a:cubicBezTo>
                  <a:cubicBezTo>
                    <a:pt x="353" y="294"/>
                    <a:pt x="440" y="340"/>
                    <a:pt x="440" y="443"/>
                  </a:cubicBezTo>
                  <a:cubicBezTo>
                    <a:pt x="440" y="557"/>
                    <a:pt x="339" y="621"/>
                    <a:pt x="186" y="621"/>
                  </a:cubicBezTo>
                  <a:cubicBezTo>
                    <a:pt x="116" y="621"/>
                    <a:pt x="68" y="607"/>
                    <a:pt x="11" y="594"/>
                  </a:cubicBezTo>
                  <a:lnTo>
                    <a:pt x="11" y="469"/>
                  </a:lnTo>
                  <a:cubicBezTo>
                    <a:pt x="55" y="482"/>
                    <a:pt x="127" y="506"/>
                    <a:pt x="192" y="506"/>
                  </a:cubicBezTo>
                  <a:cubicBezTo>
                    <a:pt x="235" y="506"/>
                    <a:pt x="278" y="487"/>
                    <a:pt x="278" y="448"/>
                  </a:cubicBezTo>
                  <a:cubicBezTo>
                    <a:pt x="278" y="412"/>
                    <a:pt x="227" y="391"/>
                    <a:pt x="152" y="349"/>
                  </a:cubicBezTo>
                  <a:cubicBezTo>
                    <a:pt x="85" y="316"/>
                    <a:pt x="0" y="247"/>
                    <a:pt x="0" y="160"/>
                  </a:cubicBezTo>
                  <a:cubicBezTo>
                    <a:pt x="0" y="57"/>
                    <a:pt x="103" y="0"/>
                    <a:pt x="242" y="0"/>
                  </a:cubicBezTo>
                  <a:cubicBezTo>
                    <a:pt x="288" y="0"/>
                    <a:pt x="342" y="6"/>
                    <a:pt x="387" y="12"/>
                  </a:cubicBezTo>
                  <a:lnTo>
                    <a:pt x="364" y="126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1F497D"/>
                </a:solidFill>
              </a:endParaRPr>
            </a:p>
          </p:txBody>
        </p:sp>
      </p:grpSp>
      <p:cxnSp>
        <p:nvCxnSpPr>
          <p:cNvPr id="24" name="Straight Connector 23"/>
          <p:cNvCxnSpPr/>
          <p:nvPr userDrawn="1"/>
        </p:nvCxnSpPr>
        <p:spPr bwMode="auto">
          <a:xfrm>
            <a:off x="182872" y="880145"/>
            <a:ext cx="11824701" cy="0"/>
          </a:xfrm>
          <a:prstGeom prst="line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5" name="矩形 24"/>
          <p:cNvSpPr/>
          <p:nvPr userDrawn="1"/>
        </p:nvSpPr>
        <p:spPr bwMode="auto">
          <a:xfrm>
            <a:off x="10595707" y="6201309"/>
            <a:ext cx="936103" cy="65669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30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9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27" name="Picture 65" descr="Ipsos Marketing MUM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87611" y="6535370"/>
            <a:ext cx="1724209" cy="23270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1974053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0" r:id="rId1"/>
    <p:sldLayoutId id="2147484341" r:id="rId2"/>
    <p:sldLayoutId id="2147484342" r:id="rId3"/>
    <p:sldLayoutId id="2147484343" r:id="rId4"/>
    <p:sldLayoutId id="2147484345" r:id="rId5"/>
  </p:sldLayoutIdLst>
  <p:hf hdr="0" ft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Calibri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Calibri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Calibri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Calibri" pitchFamily="34" charset="0"/>
        </a:defRPr>
      </a:lvl5pPr>
      <a:lvl6pPr marL="457154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Calibri" pitchFamily="34" charset="0"/>
        </a:defRPr>
      </a:lvl6pPr>
      <a:lvl7pPr marL="914309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Calibri" pitchFamily="34" charset="0"/>
        </a:defRPr>
      </a:lvl7pPr>
      <a:lvl8pPr marL="1371463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Calibri" pitchFamily="34" charset="0"/>
        </a:defRPr>
      </a:lvl8pPr>
      <a:lvl9pPr marL="1828617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Calibri" pitchFamily="34" charset="0"/>
        </a:defRPr>
      </a:lvl9pPr>
    </p:titleStyle>
    <p:bodyStyle>
      <a:lvl1pPr marL="180957" indent="-180957" algn="l" rtl="0" fontAlgn="base">
        <a:lnSpc>
          <a:spcPct val="90000"/>
        </a:lnSpc>
        <a:spcBef>
          <a:spcPct val="5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630176" indent="-268261" algn="l" rtl="0" fontAlgn="base">
        <a:lnSpc>
          <a:spcPct val="90000"/>
        </a:lnSpc>
        <a:spcBef>
          <a:spcPct val="50000"/>
        </a:spcBef>
        <a:spcAft>
          <a:spcPct val="0"/>
        </a:spcAft>
        <a:buFont typeface="Wingdings" pitchFamily="2" charset="2"/>
        <a:buChar char="ð"/>
        <a:defRPr sz="1600">
          <a:solidFill>
            <a:schemeClr val="tx1"/>
          </a:solidFill>
          <a:latin typeface="+mn-lt"/>
        </a:defRPr>
      </a:lvl2pPr>
      <a:lvl3pPr marL="990501" indent="-180957" algn="l" rtl="0" fontAlgn="base">
        <a:lnSpc>
          <a:spcPct val="90000"/>
        </a:lnSpc>
        <a:spcBef>
          <a:spcPct val="50000"/>
        </a:spcBef>
        <a:spcAft>
          <a:spcPct val="0"/>
        </a:spcAft>
        <a:buFont typeface="Calibri" pitchFamily="34" charset="0"/>
        <a:buChar char="̶"/>
        <a:defRPr sz="1500">
          <a:solidFill>
            <a:schemeClr val="tx1"/>
          </a:solidFill>
          <a:latin typeface="+mn-lt"/>
        </a:defRPr>
      </a:lvl3pPr>
      <a:lvl4pPr marL="1442894" indent="-185720" algn="l" rtl="0" fontAlgn="base">
        <a:lnSpc>
          <a:spcPct val="90000"/>
        </a:lnSpc>
        <a:spcBef>
          <a:spcPct val="50000"/>
        </a:spcBef>
        <a:spcAft>
          <a:spcPct val="0"/>
        </a:spcAft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4pPr>
      <a:lvl5pPr marL="1796871" indent="-174608" algn="l" rtl="0" fontAlgn="base">
        <a:lnSpc>
          <a:spcPct val="90000"/>
        </a:lnSpc>
        <a:spcBef>
          <a:spcPct val="50000"/>
        </a:spcBef>
        <a:spcAft>
          <a:spcPct val="0"/>
        </a:spcAft>
        <a:buFont typeface="Wingdings" pitchFamily="2" charset="2"/>
        <a:buChar char="§"/>
        <a:defRPr sz="1100">
          <a:solidFill>
            <a:schemeClr val="tx1"/>
          </a:solidFill>
          <a:latin typeface="+mn-lt"/>
        </a:defRPr>
      </a:lvl5pPr>
      <a:lvl6pPr marL="2254025" indent="-174608" algn="l" rtl="0" fontAlgn="base">
        <a:lnSpc>
          <a:spcPct val="90000"/>
        </a:lnSpc>
        <a:spcBef>
          <a:spcPct val="50000"/>
        </a:spcBef>
        <a:spcAft>
          <a:spcPct val="0"/>
        </a:spcAft>
        <a:buFont typeface="Wingdings" pitchFamily="2" charset="2"/>
        <a:buChar char="§"/>
        <a:defRPr sz="1100">
          <a:solidFill>
            <a:schemeClr val="tx1"/>
          </a:solidFill>
          <a:latin typeface="+mn-lt"/>
        </a:defRPr>
      </a:lvl6pPr>
      <a:lvl7pPr marL="2711180" indent="-174608" algn="l" rtl="0" fontAlgn="base">
        <a:lnSpc>
          <a:spcPct val="90000"/>
        </a:lnSpc>
        <a:spcBef>
          <a:spcPct val="50000"/>
        </a:spcBef>
        <a:spcAft>
          <a:spcPct val="0"/>
        </a:spcAft>
        <a:buFont typeface="Wingdings" pitchFamily="2" charset="2"/>
        <a:buChar char="§"/>
        <a:defRPr sz="1100">
          <a:solidFill>
            <a:schemeClr val="tx1"/>
          </a:solidFill>
          <a:latin typeface="+mn-lt"/>
        </a:defRPr>
      </a:lvl7pPr>
      <a:lvl8pPr marL="3168334" indent="-174608" algn="l" rtl="0" fontAlgn="base">
        <a:lnSpc>
          <a:spcPct val="90000"/>
        </a:lnSpc>
        <a:spcBef>
          <a:spcPct val="50000"/>
        </a:spcBef>
        <a:spcAft>
          <a:spcPct val="0"/>
        </a:spcAft>
        <a:buFont typeface="Wingdings" pitchFamily="2" charset="2"/>
        <a:buChar char="§"/>
        <a:defRPr sz="1100">
          <a:solidFill>
            <a:schemeClr val="tx1"/>
          </a:solidFill>
          <a:latin typeface="+mn-lt"/>
        </a:defRPr>
      </a:lvl8pPr>
      <a:lvl9pPr marL="3625488" indent="-174608" algn="l" rtl="0" fontAlgn="base">
        <a:lnSpc>
          <a:spcPct val="90000"/>
        </a:lnSpc>
        <a:spcBef>
          <a:spcPct val="50000"/>
        </a:spcBef>
        <a:spcAft>
          <a:spcPct val="0"/>
        </a:spcAft>
        <a:buFont typeface="Wingdings" pitchFamily="2" charset="2"/>
        <a:buChar char="§"/>
        <a:defRPr sz="11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irene.chan\AppData\Local\Microsoft\Windows\Temporary Internet Files\Content.Outlook\JO1CJ6CE\xmas card v9-bar-02-01 (2)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164072"/>
            <a:ext cx="12190413" cy="719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521" y="6569076"/>
            <a:ext cx="2844430" cy="25241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467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72744" y="6569076"/>
            <a:ext cx="2727225" cy="25241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467">
                <a:solidFill>
                  <a:schemeClr val="bg1"/>
                </a:solidFill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371209" y="6569076"/>
            <a:ext cx="1606342" cy="25241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467">
                <a:solidFill>
                  <a:schemeClr val="bg1"/>
                </a:solidFill>
              </a:defRPr>
            </a:lvl1pPr>
          </a:lstStyle>
          <a:p>
            <a:fld id="{0FE30328-C834-48E7-B9C8-527F9A6C821A}" type="slidenum">
              <a:rPr lang="en-US" smtClean="0">
                <a:solidFill>
                  <a:srgbClr val="1F497D"/>
                </a:solidFill>
              </a:rPr>
              <a:pPr/>
              <a:t>‹#›</a:t>
            </a:fld>
            <a:endParaRPr lang="en-US" dirty="0">
              <a:solidFill>
                <a:srgbClr val="1F497D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1784066" y="6477001"/>
            <a:ext cx="466794" cy="35073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fld id="{413D101F-BC08-4C7A-818E-03B4EC046AB6}" type="slidenum">
              <a:rPr lang="en-US" altLang="zh-CN" sz="1866" b="1" smtClean="0">
                <a:solidFill>
                  <a:schemeClr val="bg1"/>
                </a:solidFill>
              </a:rPr>
              <a:pPr>
                <a:defRPr/>
              </a:pPr>
              <a:t>‹#›</a:t>
            </a:fld>
            <a:endParaRPr lang="en-US" altLang="zh-CN" sz="1866" b="1" dirty="0">
              <a:solidFill>
                <a:schemeClr val="bg1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0413" cy="6144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6984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0" r:id="rId1"/>
    <p:sldLayoutId id="2147484351" r:id="rId2"/>
    <p:sldLayoutId id="2147484352" r:id="rId3"/>
    <p:sldLayoutId id="2147484353" r:id="rId4"/>
    <p:sldLayoutId id="2147484354" r:id="rId5"/>
    <p:sldLayoutId id="2147484355" r:id="rId6"/>
    <p:sldLayoutId id="2147484140" r:id="rId7"/>
    <p:sldLayoutId id="2147484142" r:id="rId8"/>
  </p:sldLayoutIdLst>
  <p:hf hdr="0" ftr="0" dt="0"/>
  <p:txStyles>
    <p:titleStyle>
      <a:lvl1pPr algn="l" defTabSz="609539" rtl="0" eaLnBrk="1" fontAlgn="base" hangingPunct="1">
        <a:spcBef>
          <a:spcPct val="0"/>
        </a:spcBef>
        <a:spcAft>
          <a:spcPct val="0"/>
        </a:spcAft>
        <a:defRPr sz="5066" b="1" kern="1200">
          <a:solidFill>
            <a:srgbClr val="ED1C24"/>
          </a:solidFill>
          <a:latin typeface="Arial"/>
          <a:ea typeface="ＭＳ Ｐゴシック" charset="-128"/>
          <a:cs typeface="Arial"/>
        </a:defRPr>
      </a:lvl1pPr>
      <a:lvl2pPr algn="l" defTabSz="609539" rtl="0" eaLnBrk="1" fontAlgn="base" hangingPunct="1">
        <a:spcBef>
          <a:spcPct val="0"/>
        </a:spcBef>
        <a:spcAft>
          <a:spcPct val="0"/>
        </a:spcAft>
        <a:defRPr sz="5066" b="1">
          <a:solidFill>
            <a:srgbClr val="ED1C24"/>
          </a:solidFill>
          <a:latin typeface="Arial" charset="0"/>
          <a:ea typeface="ＭＳ Ｐゴシック" charset="-128"/>
          <a:cs typeface="Arial" charset="0"/>
        </a:defRPr>
      </a:lvl2pPr>
      <a:lvl3pPr algn="l" defTabSz="609539" rtl="0" eaLnBrk="1" fontAlgn="base" hangingPunct="1">
        <a:spcBef>
          <a:spcPct val="0"/>
        </a:spcBef>
        <a:spcAft>
          <a:spcPct val="0"/>
        </a:spcAft>
        <a:defRPr sz="5066" b="1">
          <a:solidFill>
            <a:srgbClr val="ED1C24"/>
          </a:solidFill>
          <a:latin typeface="Arial" charset="0"/>
          <a:ea typeface="ＭＳ Ｐゴシック" charset="-128"/>
          <a:cs typeface="Arial" charset="0"/>
        </a:defRPr>
      </a:lvl3pPr>
      <a:lvl4pPr algn="l" defTabSz="609539" rtl="0" eaLnBrk="1" fontAlgn="base" hangingPunct="1">
        <a:spcBef>
          <a:spcPct val="0"/>
        </a:spcBef>
        <a:spcAft>
          <a:spcPct val="0"/>
        </a:spcAft>
        <a:defRPr sz="5066" b="1">
          <a:solidFill>
            <a:srgbClr val="ED1C24"/>
          </a:solidFill>
          <a:latin typeface="Arial" charset="0"/>
          <a:ea typeface="ＭＳ Ｐゴシック" charset="-128"/>
          <a:cs typeface="Arial" charset="0"/>
        </a:defRPr>
      </a:lvl4pPr>
      <a:lvl5pPr algn="l" defTabSz="609539" rtl="0" eaLnBrk="1" fontAlgn="base" hangingPunct="1">
        <a:spcBef>
          <a:spcPct val="0"/>
        </a:spcBef>
        <a:spcAft>
          <a:spcPct val="0"/>
        </a:spcAft>
        <a:defRPr sz="5066" b="1">
          <a:solidFill>
            <a:srgbClr val="ED1C24"/>
          </a:solidFill>
          <a:latin typeface="Arial" charset="0"/>
          <a:ea typeface="ＭＳ Ｐゴシック" charset="-128"/>
          <a:cs typeface="Arial" charset="0"/>
        </a:defRPr>
      </a:lvl5pPr>
      <a:lvl6pPr marL="609539" algn="l" defTabSz="609539" rtl="0" eaLnBrk="1" fontAlgn="base" hangingPunct="1">
        <a:spcBef>
          <a:spcPct val="0"/>
        </a:spcBef>
        <a:spcAft>
          <a:spcPct val="0"/>
        </a:spcAft>
        <a:defRPr sz="5333">
          <a:solidFill>
            <a:schemeClr val="bg1"/>
          </a:solidFill>
          <a:latin typeface="L VAG Rounded Light" charset="0"/>
          <a:ea typeface="ＭＳ Ｐゴシック" charset="-128"/>
        </a:defRPr>
      </a:lvl6pPr>
      <a:lvl7pPr marL="1219078" algn="l" defTabSz="609539" rtl="0" eaLnBrk="1" fontAlgn="base" hangingPunct="1">
        <a:spcBef>
          <a:spcPct val="0"/>
        </a:spcBef>
        <a:spcAft>
          <a:spcPct val="0"/>
        </a:spcAft>
        <a:defRPr sz="5333">
          <a:solidFill>
            <a:schemeClr val="bg1"/>
          </a:solidFill>
          <a:latin typeface="L VAG Rounded Light" charset="0"/>
          <a:ea typeface="ＭＳ Ｐゴシック" charset="-128"/>
        </a:defRPr>
      </a:lvl7pPr>
      <a:lvl8pPr marL="1828617" algn="l" defTabSz="609539" rtl="0" eaLnBrk="1" fontAlgn="base" hangingPunct="1">
        <a:spcBef>
          <a:spcPct val="0"/>
        </a:spcBef>
        <a:spcAft>
          <a:spcPct val="0"/>
        </a:spcAft>
        <a:defRPr sz="5333">
          <a:solidFill>
            <a:schemeClr val="bg1"/>
          </a:solidFill>
          <a:latin typeface="L VAG Rounded Light" charset="0"/>
          <a:ea typeface="ＭＳ Ｐゴシック" charset="-128"/>
        </a:defRPr>
      </a:lvl8pPr>
      <a:lvl9pPr marL="2438156" algn="l" defTabSz="609539" rtl="0" eaLnBrk="1" fontAlgn="base" hangingPunct="1">
        <a:spcBef>
          <a:spcPct val="0"/>
        </a:spcBef>
        <a:spcAft>
          <a:spcPct val="0"/>
        </a:spcAft>
        <a:defRPr sz="5333">
          <a:solidFill>
            <a:schemeClr val="bg1"/>
          </a:solidFill>
          <a:latin typeface="L VAG Rounded Light" charset="0"/>
          <a:ea typeface="ＭＳ Ｐゴシック" charset="-128"/>
        </a:defRPr>
      </a:lvl9pPr>
    </p:titleStyle>
    <p:bodyStyle>
      <a:lvl1pPr marL="457154" indent="-457154" algn="l" defTabSz="609539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133" b="1" kern="1200">
          <a:solidFill>
            <a:srgbClr val="ED1C24"/>
          </a:solidFill>
          <a:latin typeface="Arial"/>
          <a:ea typeface="ＭＳ Ｐゴシック" charset="-128"/>
          <a:cs typeface="Arial"/>
        </a:defRPr>
      </a:lvl1pPr>
      <a:lvl2pPr marL="990501" indent="-380962" algn="l" defTabSz="609539" rtl="0" eaLnBrk="1" fontAlgn="base" hangingPunct="1">
        <a:spcBef>
          <a:spcPct val="20000"/>
        </a:spcBef>
        <a:spcAft>
          <a:spcPct val="0"/>
        </a:spcAft>
        <a:buSzPct val="100000"/>
        <a:buFont typeface="Arial" charset="0"/>
        <a:buChar char="–"/>
        <a:defRPr lang="en-AU" sz="2133" kern="1200" dirty="0">
          <a:solidFill>
            <a:srgbClr val="6D6E71"/>
          </a:solidFill>
          <a:latin typeface="Arial"/>
          <a:ea typeface="ＭＳ Ｐゴシック" charset="-128"/>
          <a:cs typeface="Arial"/>
        </a:defRPr>
      </a:lvl2pPr>
      <a:lvl3pPr marL="304770" indent="-304770" algn="l" defTabSz="609539" rtl="0" eaLnBrk="1" fontAlgn="base" hangingPunct="1">
        <a:spcBef>
          <a:spcPct val="20000"/>
        </a:spcBef>
        <a:spcAft>
          <a:spcPct val="0"/>
        </a:spcAft>
        <a:buSzPct val="100000"/>
        <a:buBlip>
          <a:blip r:embed="rId12"/>
        </a:buBlip>
        <a:defRPr lang="en-AU" sz="2133" kern="1200" dirty="0">
          <a:solidFill>
            <a:srgbClr val="ED1C24"/>
          </a:solidFill>
          <a:latin typeface="Arial"/>
          <a:ea typeface="ＭＳ Ｐゴシック" charset="-128"/>
          <a:cs typeface="Arial"/>
        </a:defRPr>
      </a:lvl3pPr>
      <a:lvl4pPr marL="956638" indent="-304770" algn="l" defTabSz="609539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lang="en-AU" sz="1866" kern="1200" dirty="0">
          <a:solidFill>
            <a:srgbClr val="6D6E71"/>
          </a:solidFill>
          <a:latin typeface="Arial"/>
          <a:ea typeface="ＭＳ Ｐゴシック" charset="-128"/>
          <a:cs typeface="Arial"/>
        </a:defRPr>
      </a:lvl4pPr>
      <a:lvl5pPr marL="1555595" indent="-304770" algn="l" defTabSz="609539" rtl="0" eaLnBrk="1" fontAlgn="base" hangingPunct="1">
        <a:spcBef>
          <a:spcPct val="20000"/>
        </a:spcBef>
        <a:spcAft>
          <a:spcPct val="0"/>
        </a:spcAft>
        <a:buFont typeface="Lucida Grande" pitchFamily="-84" charset="0"/>
        <a:buChar char="-"/>
        <a:defRPr sz="1600" kern="1200">
          <a:solidFill>
            <a:srgbClr val="6D6E71"/>
          </a:solidFill>
          <a:latin typeface="Arial"/>
          <a:ea typeface="ＭＳ Ｐゴシック" charset="-128"/>
          <a:cs typeface="Arial"/>
        </a:defRPr>
      </a:lvl5pPr>
      <a:lvl6pPr marL="3352465" indent="-304770" algn="l" defTabSz="609539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6pPr>
      <a:lvl7pPr marL="3962004" indent="-304770" algn="l" defTabSz="609539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7pPr>
      <a:lvl8pPr marL="4571543" indent="-304770" algn="l" defTabSz="609539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8pPr>
      <a:lvl9pPr marL="5181082" indent="-304770" algn="l" defTabSz="609539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6095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78" algn="l" defTabSz="6095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7" algn="l" defTabSz="6095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6" algn="l" defTabSz="6095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5" algn="l" defTabSz="6095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4" algn="l" defTabSz="6095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algn="l" defTabSz="6095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2" algn="l" defTabSz="6095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1.jpe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2.xml"/><Relationship Id="rId6" Type="http://schemas.openxmlformats.org/officeDocument/2006/relationships/image" Target="../media/image10.jpg"/><Relationship Id="rId5" Type="http://schemas.openxmlformats.org/officeDocument/2006/relationships/image" Target="../media/image9.jpeg"/><Relationship Id="rId4" Type="http://schemas.openxmlformats.org/officeDocument/2006/relationships/chart" Target="../charts/chart1.xml"/><Relationship Id="rId9" Type="http://schemas.openxmlformats.org/officeDocument/2006/relationships/image" Target="../media/image13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image" Target="../media/image9.jpe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2.jpg"/><Relationship Id="rId5" Type="http://schemas.openxmlformats.org/officeDocument/2006/relationships/image" Target="../media/image13.jpeg"/><Relationship Id="rId4" Type="http://schemas.openxmlformats.org/officeDocument/2006/relationships/image" Target="../media/image10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7" Type="http://schemas.openxmlformats.org/officeDocument/2006/relationships/image" Target="../media/image14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2.jpg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19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5147645"/>
              </p:ext>
            </p:extLst>
          </p:nvPr>
        </p:nvGraphicFramePr>
        <p:xfrm>
          <a:off x="242321" y="3210490"/>
          <a:ext cx="12011624" cy="33043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9" name="五边形 28"/>
          <p:cNvSpPr/>
          <p:nvPr/>
        </p:nvSpPr>
        <p:spPr>
          <a:xfrm>
            <a:off x="252405" y="1255465"/>
            <a:ext cx="1954875" cy="517567"/>
          </a:xfrm>
          <a:prstGeom prst="round2DiagRect">
            <a:avLst/>
          </a:prstGeom>
          <a:solidFill>
            <a:srgbClr val="0070C0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09">
              <a:lnSpc>
                <a:spcPct val="100000"/>
              </a:lnSpc>
              <a:defRPr/>
            </a:pPr>
            <a:r>
              <a:rPr lang="en-US" altLang="zh-CN" b="1" dirty="0">
                <a:solidFill>
                  <a:prstClr val="white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Brand Awareness </a:t>
            </a:r>
            <a:r>
              <a:rPr lang="en-US" altLang="zh-CN" sz="1600" b="1" dirty="0">
                <a:solidFill>
                  <a:prstClr val="white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(Guangzhou)</a:t>
            </a:r>
            <a:endParaRPr lang="zh-CN" altLang="en-US" b="1" dirty="0">
              <a:solidFill>
                <a:prstClr val="white"/>
              </a:solidFill>
              <a:latin typeface="Calibri" panose="020F0502020204030204" pitchFamily="34" charset="0"/>
              <a:ea typeface="等线" panose="02010600030101010101" pitchFamily="2" charset="-122"/>
              <a:cs typeface="Calibri" panose="020F0502020204030204" pitchFamily="34" charset="0"/>
            </a:endParaRPr>
          </a:p>
        </p:txBody>
      </p:sp>
      <p:sp>
        <p:nvSpPr>
          <p:cNvPr id="41" name="文本占位符 2"/>
          <p:cNvSpPr txBox="1">
            <a:spLocks/>
          </p:cNvSpPr>
          <p:nvPr/>
        </p:nvSpPr>
        <p:spPr>
          <a:xfrm>
            <a:off x="101192" y="6593965"/>
            <a:ext cx="7722206" cy="295460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 algn="l" defTabSz="1232168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2133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" indent="0" algn="l" defTabSz="1232168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9027" indent="-249027" algn="l" defTabSz="1232168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5783" indent="-254786" algn="l" defTabSz="1232168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–"/>
              <a:defRPr sz="1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8976" indent="-234632" algn="l" defTabSz="1232168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85000"/>
              <a:buFont typeface="Arial" panose="020B0604020202020204" pitchFamily="34" charset="0"/>
              <a:buChar char="•"/>
              <a:defRPr sz="1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88463" indent="-308042" algn="l" defTabSz="123216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004547" indent="-308042" algn="l" defTabSz="123216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620630" indent="-308042" algn="l" defTabSz="123216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36716" indent="-308042" algn="l" defTabSz="123216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32045" fontAlgn="auto">
              <a:defRPr/>
            </a:pPr>
            <a:r>
              <a:rPr lang="en-US" altLang="zh-CN" sz="1100" dirty="0">
                <a:solidFill>
                  <a:prstClr val="black"/>
                </a:solidFill>
                <a:latin typeface="Calibri" panose="020F0502020204030204" pitchFamily="34" charset="0"/>
                <a:ea typeface="等线" panose="02010600030101010101" pitchFamily="2" charset="-122"/>
              </a:rPr>
              <a:t>Base: Respondents in Guangzhou, n=200	</a:t>
            </a:r>
            <a:endParaRPr lang="zh-CN" altLang="en-US" sz="1100" dirty="0">
              <a:solidFill>
                <a:prstClr val="black"/>
              </a:solidFill>
              <a:latin typeface="Calibri" panose="020F0502020204030204" pitchFamily="34" charset="0"/>
              <a:ea typeface="等线" panose="02010600030101010101" pitchFamily="2" charset="-122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60449" y="1917029"/>
            <a:ext cx="4559797" cy="3385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09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b="1" kern="0" dirty="0">
                <a:solidFill>
                  <a:srgbClr val="0000FF"/>
                </a:solidFill>
                <a:ea typeface="等线" panose="02010600030101010101" pitchFamily="2" charset="-122"/>
              </a:rPr>
              <a:t>W3 Ranking </a:t>
            </a:r>
            <a:r>
              <a:rPr lang="en-US" altLang="zh-CN" sz="1400" b="1" i="1" kern="0" dirty="0">
                <a:solidFill>
                  <a:srgbClr val="0000FF"/>
                </a:solidFill>
                <a:ea typeface="等线" panose="02010600030101010101" pitchFamily="2" charset="-122"/>
              </a:rPr>
              <a:t>(W2 Ranking)</a:t>
            </a:r>
            <a:endParaRPr lang="zh-CN" altLang="en-US" sz="1600" b="1" i="1" kern="0" dirty="0">
              <a:solidFill>
                <a:srgbClr val="0000FF"/>
              </a:solidFill>
              <a:ea typeface="等线" panose="02010600030101010101" pitchFamily="2" charset="-122"/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553348" y="2716760"/>
            <a:ext cx="10698402" cy="614678"/>
            <a:chOff x="6284485" y="2472152"/>
            <a:chExt cx="13211912" cy="614758"/>
          </a:xfrm>
        </p:grpSpPr>
        <p:pic>
          <p:nvPicPr>
            <p:cNvPr id="40" name="图片 39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730683" y="2539196"/>
              <a:ext cx="765714" cy="501004"/>
            </a:xfrm>
            <a:prstGeom prst="rect">
              <a:avLst/>
            </a:prstGeom>
          </p:spPr>
        </p:pic>
        <p:pic>
          <p:nvPicPr>
            <p:cNvPr id="45" name="图片 44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678431" y="2573836"/>
              <a:ext cx="805200" cy="483120"/>
            </a:xfrm>
            <a:prstGeom prst="rect">
              <a:avLst/>
            </a:prstGeom>
          </p:spPr>
        </p:pic>
        <p:pic>
          <p:nvPicPr>
            <p:cNvPr id="48" name="图片 47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747870" y="2631245"/>
              <a:ext cx="924006" cy="368304"/>
            </a:xfrm>
            <a:prstGeom prst="rect">
              <a:avLst/>
            </a:prstGeom>
          </p:spPr>
        </p:pic>
        <p:pic>
          <p:nvPicPr>
            <p:cNvPr id="67" name="图片 66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78966" y="2472152"/>
              <a:ext cx="1117115" cy="560837"/>
            </a:xfrm>
            <a:prstGeom prst="rect">
              <a:avLst/>
            </a:prstGeom>
          </p:spPr>
        </p:pic>
        <p:pic>
          <p:nvPicPr>
            <p:cNvPr id="38" name="图片 37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84485" y="2543888"/>
              <a:ext cx="986388" cy="543022"/>
            </a:xfrm>
            <a:prstGeom prst="rect">
              <a:avLst/>
            </a:prstGeom>
          </p:spPr>
        </p:pic>
      </p:grpSp>
      <p:graphicFrame>
        <p:nvGraphicFramePr>
          <p:cNvPr id="3" name="表格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3981667"/>
              </p:ext>
            </p:extLst>
          </p:nvPr>
        </p:nvGraphicFramePr>
        <p:xfrm>
          <a:off x="-133486" y="2234683"/>
          <a:ext cx="12263450" cy="36894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52690">
                  <a:extLst>
                    <a:ext uri="{9D8B030D-6E8A-4147-A177-3AD203B41FA5}">
                      <a16:colId xmlns:a16="http://schemas.microsoft.com/office/drawing/2014/main" val="1453972359"/>
                    </a:ext>
                  </a:extLst>
                </a:gridCol>
                <a:gridCol w="2452690">
                  <a:extLst>
                    <a:ext uri="{9D8B030D-6E8A-4147-A177-3AD203B41FA5}">
                      <a16:colId xmlns:a16="http://schemas.microsoft.com/office/drawing/2014/main" val="3112656998"/>
                    </a:ext>
                  </a:extLst>
                </a:gridCol>
                <a:gridCol w="2452690">
                  <a:extLst>
                    <a:ext uri="{9D8B030D-6E8A-4147-A177-3AD203B41FA5}">
                      <a16:colId xmlns:a16="http://schemas.microsoft.com/office/drawing/2014/main" val="903485456"/>
                    </a:ext>
                  </a:extLst>
                </a:gridCol>
                <a:gridCol w="2452690">
                  <a:extLst>
                    <a:ext uri="{9D8B030D-6E8A-4147-A177-3AD203B41FA5}">
                      <a16:colId xmlns:a16="http://schemas.microsoft.com/office/drawing/2014/main" val="1600042287"/>
                    </a:ext>
                  </a:extLst>
                </a:gridCol>
                <a:gridCol w="2452690">
                  <a:extLst>
                    <a:ext uri="{9D8B030D-6E8A-4147-A177-3AD203B41FA5}">
                      <a16:colId xmlns:a16="http://schemas.microsoft.com/office/drawing/2014/main" val="658924163"/>
                    </a:ext>
                  </a:extLst>
                </a:gridCol>
              </a:tblGrid>
              <a:tr h="36894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b="1" dirty="0">
                          <a:solidFill>
                            <a:srgbClr val="0000FF"/>
                          </a:solidFill>
                          <a:latin typeface="Calibri" panose="020F0502020204030204" pitchFamily="34" charset="0"/>
                        </a:rPr>
                        <a:t>6 </a:t>
                      </a:r>
                      <a:r>
                        <a:rPr lang="en-US" altLang="zh-CN" sz="1400" b="1" i="1" dirty="0">
                          <a:solidFill>
                            <a:srgbClr val="0000FF"/>
                          </a:solidFill>
                          <a:latin typeface="Calibri" panose="020F0502020204030204" pitchFamily="34" charset="0"/>
                        </a:rPr>
                        <a:t>(</a:t>
                      </a:r>
                      <a:r>
                        <a:rPr lang="en-US" altLang="zh-CN" sz="1400" b="1" i="1" baseline="0" dirty="0">
                          <a:solidFill>
                            <a:srgbClr val="0000FF"/>
                          </a:solidFill>
                          <a:latin typeface="Calibri" panose="020F0502020204030204" pitchFamily="34" charset="0"/>
                        </a:rPr>
                        <a:t>5</a:t>
                      </a:r>
                      <a:r>
                        <a:rPr lang="en-US" altLang="zh-CN" sz="1400" b="1" i="1" dirty="0">
                          <a:solidFill>
                            <a:srgbClr val="0000FF"/>
                          </a:solidFill>
                          <a:latin typeface="Calibri" panose="020F0502020204030204" pitchFamily="34" charset="0"/>
                        </a:rPr>
                        <a:t>)</a:t>
                      </a:r>
                      <a:endParaRPr lang="zh-CN" altLang="en-US" sz="1600" b="1" dirty="0">
                        <a:solidFill>
                          <a:srgbClr val="0000FF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91428" marR="91428" marT="45714" marB="4571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b="1" dirty="0">
                          <a:solidFill>
                            <a:srgbClr val="0000FF"/>
                          </a:solidFill>
                          <a:latin typeface="Calibri" panose="020F0502020204030204" pitchFamily="34" charset="0"/>
                        </a:rPr>
                        <a:t>7 </a:t>
                      </a:r>
                      <a:r>
                        <a:rPr lang="en-US" altLang="zh-CN" sz="1400" b="1" i="1" dirty="0">
                          <a:solidFill>
                            <a:srgbClr val="0000FF"/>
                          </a:solidFill>
                          <a:latin typeface="Calibri" panose="020F0502020204030204" pitchFamily="34" charset="0"/>
                        </a:rPr>
                        <a:t>(6)</a:t>
                      </a:r>
                      <a:endParaRPr lang="zh-CN" altLang="en-US" sz="1600" b="1" dirty="0">
                        <a:solidFill>
                          <a:srgbClr val="0000FF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91428" marR="91428" marT="45714" marB="4571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b="1" dirty="0">
                          <a:solidFill>
                            <a:srgbClr val="0000FF"/>
                          </a:solidFill>
                          <a:latin typeface="Calibri" panose="020F0502020204030204" pitchFamily="34" charset="0"/>
                        </a:rPr>
                        <a:t>8 </a:t>
                      </a:r>
                      <a:r>
                        <a:rPr lang="en-US" altLang="zh-CN" sz="1400" b="1" i="1" dirty="0">
                          <a:solidFill>
                            <a:srgbClr val="0000FF"/>
                          </a:solidFill>
                          <a:latin typeface="Calibri" panose="020F0502020204030204" pitchFamily="34" charset="0"/>
                        </a:rPr>
                        <a:t>(</a:t>
                      </a:r>
                      <a:r>
                        <a:rPr lang="en-US" altLang="zh-CN" sz="1400" b="1" i="1" baseline="0" dirty="0">
                          <a:solidFill>
                            <a:srgbClr val="0000FF"/>
                          </a:solidFill>
                          <a:latin typeface="Calibri" panose="020F0502020204030204" pitchFamily="34" charset="0"/>
                        </a:rPr>
                        <a:t>8</a:t>
                      </a:r>
                      <a:r>
                        <a:rPr lang="en-US" altLang="zh-CN" sz="1400" b="1" i="1" dirty="0">
                          <a:solidFill>
                            <a:srgbClr val="0000FF"/>
                          </a:solidFill>
                          <a:latin typeface="Calibri" panose="020F0502020204030204" pitchFamily="34" charset="0"/>
                        </a:rPr>
                        <a:t>)</a:t>
                      </a:r>
                      <a:endParaRPr lang="zh-CN" altLang="en-US" sz="1600" b="1" dirty="0">
                        <a:solidFill>
                          <a:srgbClr val="0000FF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91428" marR="91428" marT="45714" marB="4571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b="1" dirty="0">
                          <a:solidFill>
                            <a:srgbClr val="0000FF"/>
                          </a:solidFill>
                          <a:latin typeface="Calibri" panose="020F0502020204030204" pitchFamily="34" charset="0"/>
                        </a:rPr>
                        <a:t>9 </a:t>
                      </a:r>
                      <a:r>
                        <a:rPr lang="en-US" altLang="zh-CN" sz="1400" b="1" i="1" dirty="0">
                          <a:solidFill>
                            <a:srgbClr val="0000FF"/>
                          </a:solidFill>
                          <a:latin typeface="Calibri" panose="020F0502020204030204" pitchFamily="34" charset="0"/>
                        </a:rPr>
                        <a:t>(</a:t>
                      </a:r>
                      <a:r>
                        <a:rPr lang="en-US" altLang="zh-CN" sz="1400" b="1" i="1" baseline="0" dirty="0">
                          <a:solidFill>
                            <a:srgbClr val="0000FF"/>
                          </a:solidFill>
                          <a:latin typeface="Calibri" panose="020F0502020204030204" pitchFamily="34" charset="0"/>
                        </a:rPr>
                        <a:t>9</a:t>
                      </a:r>
                      <a:r>
                        <a:rPr lang="en-US" altLang="zh-CN" sz="1400" b="1" i="1" dirty="0">
                          <a:solidFill>
                            <a:srgbClr val="0000FF"/>
                          </a:solidFill>
                          <a:latin typeface="Calibri" panose="020F0502020204030204" pitchFamily="34" charset="0"/>
                        </a:rPr>
                        <a:t>)</a:t>
                      </a:r>
                      <a:endParaRPr lang="zh-CN" altLang="en-US" sz="1600" b="1" dirty="0">
                        <a:solidFill>
                          <a:srgbClr val="0000FF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91428" marR="91428" marT="45714" marB="4571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b="1" dirty="0">
                          <a:solidFill>
                            <a:srgbClr val="0000FF"/>
                          </a:solidFill>
                          <a:latin typeface="Calibri" panose="020F0502020204030204" pitchFamily="34" charset="0"/>
                        </a:rPr>
                        <a:t>10 </a:t>
                      </a:r>
                      <a:r>
                        <a:rPr lang="en-US" altLang="zh-CN" sz="1400" b="1" i="1" dirty="0">
                          <a:solidFill>
                            <a:srgbClr val="0000FF"/>
                          </a:solidFill>
                          <a:latin typeface="Calibri" panose="020F0502020204030204" pitchFamily="34" charset="0"/>
                        </a:rPr>
                        <a:t>(</a:t>
                      </a:r>
                      <a:r>
                        <a:rPr lang="en-US" altLang="zh-CN" sz="1400" b="1" i="1" baseline="0" dirty="0">
                          <a:solidFill>
                            <a:srgbClr val="0000FF"/>
                          </a:solidFill>
                          <a:latin typeface="Calibri" panose="020F0502020204030204" pitchFamily="34" charset="0"/>
                        </a:rPr>
                        <a:t>10</a:t>
                      </a:r>
                      <a:r>
                        <a:rPr lang="en-US" altLang="zh-CN" sz="1400" b="1" i="1" dirty="0">
                          <a:solidFill>
                            <a:srgbClr val="0000FF"/>
                          </a:solidFill>
                          <a:latin typeface="Calibri" panose="020F0502020204030204" pitchFamily="34" charset="0"/>
                        </a:rPr>
                        <a:t>)</a:t>
                      </a:r>
                      <a:endParaRPr lang="zh-CN" altLang="en-US" sz="1600" b="1" dirty="0">
                        <a:solidFill>
                          <a:srgbClr val="0000FF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91428" marR="91428" marT="45714" marB="4571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4866977"/>
                  </a:ext>
                </a:extLst>
              </a:tr>
            </a:tbl>
          </a:graphicData>
        </a:graphic>
      </p:graphicFrame>
      <p:grpSp>
        <p:nvGrpSpPr>
          <p:cNvPr id="42" name="组合 41">
            <a:extLst>
              <a:ext uri="{FF2B5EF4-FFF2-40B4-BE49-F238E27FC236}">
                <a16:creationId xmlns:a16="http://schemas.microsoft.com/office/drawing/2014/main" id="{F217EBBF-BB09-4C4A-BE7A-C43A8CED9B91}"/>
              </a:ext>
            </a:extLst>
          </p:cNvPr>
          <p:cNvGrpSpPr/>
          <p:nvPr/>
        </p:nvGrpSpPr>
        <p:grpSpPr>
          <a:xfrm>
            <a:off x="7144195" y="6593262"/>
            <a:ext cx="3168806" cy="246221"/>
            <a:chOff x="7067314" y="6588378"/>
            <a:chExt cx="3168806" cy="246221"/>
          </a:xfrm>
        </p:grpSpPr>
        <p:sp>
          <p:nvSpPr>
            <p:cNvPr id="43" name="TextBox 134">
              <a:extLst>
                <a:ext uri="{FF2B5EF4-FFF2-40B4-BE49-F238E27FC236}">
                  <a16:creationId xmlns:a16="http://schemas.microsoft.com/office/drawing/2014/main" id="{53C903C1-CD56-4C3E-8891-B178A666DD5F}"/>
                </a:ext>
              </a:extLst>
            </p:cNvPr>
            <p:cNvSpPr txBox="1"/>
            <p:nvPr/>
          </p:nvSpPr>
          <p:spPr>
            <a:xfrm>
              <a:off x="7679839" y="6588378"/>
              <a:ext cx="2556281" cy="246221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rtlCol="0" anchor="ctr">
              <a:spAutoFit/>
            </a:bodyPr>
            <a:lstStyle/>
            <a:p>
              <a:pPr defTabSz="1107370">
                <a:lnSpc>
                  <a:spcPts val="1200"/>
                </a:lnSpc>
                <a:defRPr/>
              </a:pPr>
              <a:r>
                <a:rPr lang="nl-BE" altLang="zh-CN" sz="1050" b="1" kern="0" dirty="0">
                  <a:ea typeface="黑体"/>
                </a:rPr>
                <a:t>Sig. </a:t>
              </a:r>
              <a:r>
                <a:rPr lang="nl-BE" altLang="zh-CN" sz="1050" b="1" kern="0" dirty="0">
                  <a:solidFill>
                    <a:srgbClr val="00B050"/>
                  </a:solidFill>
                  <a:ea typeface="黑体"/>
                </a:rPr>
                <a:t>HIGH </a:t>
              </a:r>
              <a:r>
                <a:rPr lang="nl-BE" altLang="zh-CN" sz="1050" b="1" kern="0" dirty="0">
                  <a:ea typeface="黑体"/>
                </a:rPr>
                <a:t>/ </a:t>
              </a:r>
              <a:r>
                <a:rPr lang="nl-BE" altLang="zh-CN" sz="1050" b="1" kern="0" dirty="0">
                  <a:solidFill>
                    <a:srgbClr val="FF0000"/>
                  </a:solidFill>
                  <a:ea typeface="黑体"/>
                </a:rPr>
                <a:t>LOW</a:t>
              </a:r>
              <a:r>
                <a:rPr lang="nl-BE" altLang="zh-CN" sz="1050" b="1" kern="0" dirty="0">
                  <a:ea typeface="黑体"/>
                </a:rPr>
                <a:t> vs. last wave @ 90% C.L.</a:t>
              </a:r>
              <a:endParaRPr lang="en-GB" sz="1050" b="1" kern="0" dirty="0">
                <a:ea typeface="黑体"/>
              </a:endParaRPr>
            </a:p>
          </p:txBody>
        </p:sp>
        <p:cxnSp>
          <p:nvCxnSpPr>
            <p:cNvPr id="51" name="直接箭头连接符 50">
              <a:extLst>
                <a:ext uri="{FF2B5EF4-FFF2-40B4-BE49-F238E27FC236}">
                  <a16:creationId xmlns:a16="http://schemas.microsoft.com/office/drawing/2014/main" id="{637CE6C0-7968-4F90-94C0-0D0BAB27FA7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067314" y="6664707"/>
              <a:ext cx="227124" cy="76661"/>
            </a:xfrm>
            <a:prstGeom prst="straightConnector1">
              <a:avLst/>
            </a:prstGeom>
            <a:ln w="19050">
              <a:solidFill>
                <a:srgbClr val="00B050"/>
              </a:solidFill>
              <a:prstDash val="solid"/>
              <a:headEnd type="none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直接箭头连接符 51">
              <a:extLst>
                <a:ext uri="{FF2B5EF4-FFF2-40B4-BE49-F238E27FC236}">
                  <a16:creationId xmlns:a16="http://schemas.microsoft.com/office/drawing/2014/main" id="{D4D1482F-DB17-4007-BB31-1874A2735552}"/>
                </a:ext>
              </a:extLst>
            </p:cNvPr>
            <p:cNvCxnSpPr>
              <a:cxnSpLocks/>
            </p:cNvCxnSpPr>
            <p:nvPr/>
          </p:nvCxnSpPr>
          <p:spPr>
            <a:xfrm>
              <a:off x="7427354" y="6651969"/>
              <a:ext cx="224232" cy="74380"/>
            </a:xfrm>
            <a:prstGeom prst="straightConnector1">
              <a:avLst/>
            </a:prstGeom>
            <a:ln w="19050">
              <a:solidFill>
                <a:srgbClr val="FF0000"/>
              </a:solidFill>
              <a:prstDash val="solid"/>
              <a:headEnd type="none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6" name="标题 3"/>
          <p:cNvSpPr txBox="1">
            <a:spLocks/>
          </p:cNvSpPr>
          <p:nvPr/>
        </p:nvSpPr>
        <p:spPr>
          <a:xfrm>
            <a:off x="162283" y="80628"/>
            <a:ext cx="9397943" cy="838421"/>
          </a:xfrm>
          <a:prstGeom prst="rect">
            <a:avLst/>
          </a:prstGeom>
          <a:noFill/>
        </p:spPr>
        <p:txBody>
          <a:bodyPr anchor="ctr"/>
          <a:lstStyle/>
          <a:p>
            <a:pPr defTabSz="914309" eaLnBrk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3200" kern="0" dirty="0">
                <a:solidFill>
                  <a:prstClr val="black"/>
                </a:solidFill>
                <a:ea typeface="等线" panose="02010600030101010101" pitchFamily="2" charset="-122"/>
                <a:cs typeface="Calibri" panose="020F0502020204030204" pitchFamily="34" charset="0"/>
              </a:rPr>
              <a:t>Brand Awareness KPI by city</a:t>
            </a:r>
          </a:p>
        </p:txBody>
      </p:sp>
      <p:grpSp>
        <p:nvGrpSpPr>
          <p:cNvPr id="57" name="组合 56">
            <a:extLst>
              <a:ext uri="{FF2B5EF4-FFF2-40B4-BE49-F238E27FC236}">
                <a16:creationId xmlns:a16="http://schemas.microsoft.com/office/drawing/2014/main" id="{CC4B63AE-2B53-426F-8A6B-22565EAB9CA2}"/>
              </a:ext>
            </a:extLst>
          </p:cNvPr>
          <p:cNvGrpSpPr>
            <a:grpSpLocks/>
          </p:cNvGrpSpPr>
          <p:nvPr/>
        </p:nvGrpSpPr>
        <p:grpSpPr bwMode="auto">
          <a:xfrm>
            <a:off x="163077" y="6178156"/>
            <a:ext cx="7863525" cy="203172"/>
            <a:chOff x="0" y="-28141"/>
            <a:chExt cx="5898933" cy="203231"/>
          </a:xfrm>
        </p:grpSpPr>
        <p:sp>
          <p:nvSpPr>
            <p:cNvPr id="65" name="Text Box 3">
              <a:extLst>
                <a:ext uri="{FF2B5EF4-FFF2-40B4-BE49-F238E27FC236}">
                  <a16:creationId xmlns:a16="http://schemas.microsoft.com/office/drawing/2014/main" id="{20149005-BE58-4775-93DC-D63F43BBDF2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014110" y="-28140"/>
              <a:ext cx="1681163" cy="2032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 type="none" w="sm" len="sm"/>
            </a:ln>
          </p:spPr>
          <p:txBody>
            <a:bodyPr wrap="squar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</a:pPr>
              <a:r>
                <a:rPr lang="en-US" altLang="zh-CN" sz="1467" kern="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otal unaided awareness</a:t>
              </a:r>
            </a:p>
          </p:txBody>
        </p:sp>
        <p:grpSp>
          <p:nvGrpSpPr>
            <p:cNvPr id="66" name="组合 65">
              <a:extLst>
                <a:ext uri="{FF2B5EF4-FFF2-40B4-BE49-F238E27FC236}">
                  <a16:creationId xmlns:a16="http://schemas.microsoft.com/office/drawing/2014/main" id="{CC9A1822-9392-4266-942F-24E8531410B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463118" y="35375"/>
              <a:ext cx="401638" cy="76199"/>
              <a:chOff x="1463117" y="35375"/>
              <a:chExt cx="401638" cy="76200"/>
            </a:xfrm>
          </p:grpSpPr>
          <p:sp>
            <p:nvSpPr>
              <p:cNvPr id="84" name="Rectangle 5">
                <a:extLst>
                  <a:ext uri="{FF2B5EF4-FFF2-40B4-BE49-F238E27FC236}">
                    <a16:creationId xmlns:a16="http://schemas.microsoft.com/office/drawing/2014/main" id="{9545A4A0-CD9C-4D60-8967-6AFADD6D27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71080" y="35375"/>
                <a:ext cx="193675" cy="76200"/>
              </a:xfrm>
              <a:prstGeom prst="rect">
                <a:avLst/>
              </a:prstGeom>
              <a:solidFill>
                <a:srgbClr val="F1BE48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square" lIns="0" tIns="0" rIns="0" bIns="0" anchor="b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base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SzPct val="110000"/>
                </a:pPr>
                <a:endParaRPr lang="zh-CN" altLang="en-US" sz="1200" ker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5" name="Rectangle 6">
                <a:extLst>
                  <a:ext uri="{FF2B5EF4-FFF2-40B4-BE49-F238E27FC236}">
                    <a16:creationId xmlns:a16="http://schemas.microsoft.com/office/drawing/2014/main" id="{98277386-5966-46E2-8B22-14E691535B2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63117" y="35375"/>
                <a:ext cx="215900" cy="76200"/>
              </a:xfrm>
              <a:prstGeom prst="rect">
                <a:avLst/>
              </a:prstGeom>
              <a:solidFill>
                <a:srgbClr val="B55813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square" lIns="0" tIns="0" rIns="0" bIns="0" anchor="b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base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SzPct val="110000"/>
                </a:pPr>
                <a:endParaRPr lang="zh-CN" altLang="en-US" sz="1200" ker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68" name="Rectangle 7">
              <a:extLst>
                <a:ext uri="{FF2B5EF4-FFF2-40B4-BE49-F238E27FC236}">
                  <a16:creationId xmlns:a16="http://schemas.microsoft.com/office/drawing/2014/main" id="{3D9C590B-DE6C-4667-A39E-FE354E17D9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35366"/>
              <a:ext cx="514350" cy="682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b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SzPct val="110000"/>
              </a:pPr>
              <a:endParaRPr lang="zh-CN" altLang="en-US" sz="1200" ker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1" name="Rectangle 8">
              <a:extLst>
                <a:ext uri="{FF2B5EF4-FFF2-40B4-BE49-F238E27FC236}">
                  <a16:creationId xmlns:a16="http://schemas.microsoft.com/office/drawing/2014/main" id="{A79DFA6C-E813-46DA-8852-BC48B842E4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438" y="43303"/>
              <a:ext cx="301625" cy="682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b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SzPct val="110000"/>
              </a:pPr>
              <a:endParaRPr lang="zh-CN" altLang="en-US" sz="1200" ker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2" name="Text Box 9">
              <a:extLst>
                <a:ext uri="{FF2B5EF4-FFF2-40B4-BE49-F238E27FC236}">
                  <a16:creationId xmlns:a16="http://schemas.microsoft.com/office/drawing/2014/main" id="{3C464F27-1235-4A8A-9621-7141731C2FA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13632" y="-28141"/>
              <a:ext cx="1079686" cy="2032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 type="none" w="sm" len="sm"/>
            </a:ln>
          </p:spPr>
          <p:txBody>
            <a:bodyPr wrap="squar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</a:pPr>
              <a:r>
                <a:rPr lang="en-US" altLang="zh-CN" sz="1467" kern="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OMA</a:t>
              </a:r>
            </a:p>
          </p:txBody>
        </p:sp>
        <p:sp>
          <p:nvSpPr>
            <p:cNvPr id="73" name="Text Box 10">
              <a:extLst>
                <a:ext uri="{FF2B5EF4-FFF2-40B4-BE49-F238E27FC236}">
                  <a16:creationId xmlns:a16="http://schemas.microsoft.com/office/drawing/2014/main" id="{C59A06DF-F897-4614-A51B-17308645563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454308" y="-28140"/>
              <a:ext cx="1444625" cy="2032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 type="none" w="sm" len="sm"/>
            </a:ln>
          </p:spPr>
          <p:txBody>
            <a:bodyPr wrap="squar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</a:pPr>
              <a:r>
                <a:rPr lang="en-US" altLang="zh-CN" sz="1467" kern="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otal aided awareness</a:t>
              </a:r>
            </a:p>
          </p:txBody>
        </p:sp>
        <p:sp>
          <p:nvSpPr>
            <p:cNvPr id="75" name="Rectangle 11">
              <a:extLst>
                <a:ext uri="{FF2B5EF4-FFF2-40B4-BE49-F238E27FC236}">
                  <a16:creationId xmlns:a16="http://schemas.microsoft.com/office/drawing/2014/main" id="{17C0EA6B-A30C-4525-A740-737D394956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0055" y="34581"/>
              <a:ext cx="215900" cy="77787"/>
            </a:xfrm>
            <a:prstGeom prst="rect">
              <a:avLst/>
            </a:prstGeom>
            <a:solidFill>
              <a:srgbClr val="B5581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0" tIns="0" rIns="0" bIns="0" anchor="b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SzPct val="110000"/>
              </a:pPr>
              <a:endParaRPr lang="zh-CN" altLang="en-US" sz="1200" ker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76" name="组合 75">
              <a:extLst>
                <a:ext uri="{FF2B5EF4-FFF2-40B4-BE49-F238E27FC236}">
                  <a16:creationId xmlns:a16="http://schemas.microsoft.com/office/drawing/2014/main" id="{6C15B9AE-6E5E-4160-A302-D409F1AD4CD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773534" y="29819"/>
              <a:ext cx="596901" cy="87313"/>
              <a:chOff x="3773534" y="29819"/>
              <a:chExt cx="596901" cy="87313"/>
            </a:xfrm>
          </p:grpSpPr>
          <p:sp>
            <p:nvSpPr>
              <p:cNvPr id="81" name="Rectangle 12">
                <a:extLst>
                  <a:ext uri="{FF2B5EF4-FFF2-40B4-BE49-F238E27FC236}">
                    <a16:creationId xmlns:a16="http://schemas.microsoft.com/office/drawing/2014/main" id="{AAEBDEE4-6683-4579-8EAF-0C2541799B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86259" y="29819"/>
                <a:ext cx="193675" cy="87313"/>
              </a:xfrm>
              <a:prstGeom prst="rect">
                <a:avLst/>
              </a:prstGeom>
              <a:solidFill>
                <a:srgbClr val="F1BE48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square" lIns="0" tIns="0" rIns="0" bIns="0" anchor="b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base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SzPct val="110000"/>
                </a:pPr>
                <a:endParaRPr lang="zh-CN" altLang="en-US" sz="1200" ker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2" name="Rectangle 13">
                <a:extLst>
                  <a:ext uri="{FF2B5EF4-FFF2-40B4-BE49-F238E27FC236}">
                    <a16:creationId xmlns:a16="http://schemas.microsoft.com/office/drawing/2014/main" id="{4EEEF6D0-4119-4E9B-A36B-4AF817EE92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73534" y="29819"/>
                <a:ext cx="215900" cy="87313"/>
              </a:xfrm>
              <a:prstGeom prst="rect">
                <a:avLst/>
              </a:prstGeom>
              <a:solidFill>
                <a:srgbClr val="B55813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square" lIns="0" tIns="0" rIns="0" bIns="0" anchor="b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base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SzPct val="110000"/>
                </a:pPr>
                <a:endParaRPr lang="zh-CN" altLang="en-US" sz="1200" ker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3" name="Rectangle 14">
                <a:extLst>
                  <a:ext uri="{FF2B5EF4-FFF2-40B4-BE49-F238E27FC236}">
                    <a16:creationId xmlns:a16="http://schemas.microsoft.com/office/drawing/2014/main" id="{5FBA426F-D663-44A2-ACE4-4AA115C8AC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76760" y="29819"/>
                <a:ext cx="193675" cy="87313"/>
              </a:xfrm>
              <a:prstGeom prst="rect">
                <a:avLst/>
              </a:prstGeom>
              <a:solidFill>
                <a:srgbClr val="F9E5B6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square" lIns="0" tIns="0" rIns="0" bIns="0" anchor="b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base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SzPct val="110000"/>
                </a:pPr>
                <a:endParaRPr lang="zh-CN" altLang="en-US" sz="1200" ker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722843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五边形 28"/>
          <p:cNvSpPr/>
          <p:nvPr/>
        </p:nvSpPr>
        <p:spPr>
          <a:xfrm>
            <a:off x="243090" y="1089045"/>
            <a:ext cx="1623074" cy="517567"/>
          </a:xfrm>
          <a:prstGeom prst="round2DiagRect">
            <a:avLst/>
          </a:prstGeom>
          <a:solidFill>
            <a:srgbClr val="0070C0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09">
              <a:lnSpc>
                <a:spcPct val="100000"/>
              </a:lnSpc>
              <a:defRPr/>
            </a:pPr>
            <a:r>
              <a:rPr lang="en-US" altLang="zh-CN" b="1" dirty="0">
                <a:solidFill>
                  <a:prstClr val="white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Brand Usage</a:t>
            </a:r>
          </a:p>
          <a:p>
            <a:pPr algn="ctr" defTabSz="914309">
              <a:lnSpc>
                <a:spcPct val="100000"/>
              </a:lnSpc>
              <a:defRPr/>
            </a:pPr>
            <a:r>
              <a:rPr lang="en-US" altLang="zh-CN" sz="1600" b="1" dirty="0">
                <a:solidFill>
                  <a:prstClr val="white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rPr>
              <a:t>(Guangzhou)</a:t>
            </a:r>
            <a:endParaRPr lang="zh-CN" altLang="en-US" b="1" dirty="0">
              <a:solidFill>
                <a:prstClr val="white"/>
              </a:solidFill>
              <a:latin typeface="Calibri" panose="020F0502020204030204" pitchFamily="34" charset="0"/>
              <a:ea typeface="等线" panose="02010600030101010101" pitchFamily="2" charset="-122"/>
              <a:cs typeface="Calibri" panose="020F0502020204030204" pitchFamily="34" charset="0"/>
            </a:endParaRPr>
          </a:p>
        </p:txBody>
      </p:sp>
      <p:grpSp>
        <p:nvGrpSpPr>
          <p:cNvPr id="65" name="组合 64"/>
          <p:cNvGrpSpPr>
            <a:grpSpLocks/>
          </p:cNvGrpSpPr>
          <p:nvPr/>
        </p:nvGrpSpPr>
        <p:grpSpPr bwMode="auto">
          <a:xfrm>
            <a:off x="177780" y="5903561"/>
            <a:ext cx="7520994" cy="225739"/>
            <a:chOff x="0" y="-28141"/>
            <a:chExt cx="5641978" cy="225805"/>
          </a:xfrm>
        </p:grpSpPr>
        <p:sp>
          <p:nvSpPr>
            <p:cNvPr id="66" name="Text Box 3"/>
            <p:cNvSpPr txBox="1">
              <a:spLocks noChangeArrowheads="1"/>
            </p:cNvSpPr>
            <p:nvPr/>
          </p:nvSpPr>
          <p:spPr bwMode="auto">
            <a:xfrm>
              <a:off x="2014110" y="-28140"/>
              <a:ext cx="1681163" cy="2258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 type="none" w="sm" len="sm"/>
            </a:ln>
          </p:spPr>
          <p:txBody>
            <a:bodyPr wrap="squar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defTabSz="914309" fontAlgn="auto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altLang="zh-CN" sz="1467" kern="0" dirty="0">
                  <a:solidFill>
                    <a:srgbClr val="000000"/>
                  </a:solidFill>
                  <a:latin typeface="Calibri" panose="020F0502020204030204" pitchFamily="34" charset="0"/>
                  <a:ea typeface="等线" panose="02010600030101010101" pitchFamily="2" charset="-122"/>
                  <a:cs typeface="Calibri" panose="020F0502020204030204" pitchFamily="34" charset="0"/>
                </a:rPr>
                <a:t>P1M Usage</a:t>
              </a:r>
            </a:p>
          </p:txBody>
        </p:sp>
        <p:grpSp>
          <p:nvGrpSpPr>
            <p:cNvPr id="67" name="组合 66"/>
            <p:cNvGrpSpPr>
              <a:grpSpLocks/>
            </p:cNvGrpSpPr>
            <p:nvPr/>
          </p:nvGrpSpPr>
          <p:grpSpPr bwMode="auto">
            <a:xfrm>
              <a:off x="1463118" y="35375"/>
              <a:ext cx="401638" cy="76199"/>
              <a:chOff x="1463117" y="35375"/>
              <a:chExt cx="401638" cy="76200"/>
            </a:xfrm>
          </p:grpSpPr>
          <p:sp>
            <p:nvSpPr>
              <p:cNvPr id="91" name="Rectangle 5"/>
              <p:cNvSpPr>
                <a:spLocks noChangeArrowheads="1"/>
              </p:cNvSpPr>
              <p:nvPr/>
            </p:nvSpPr>
            <p:spPr bwMode="auto">
              <a:xfrm>
                <a:off x="1671080" y="35375"/>
                <a:ext cx="193675" cy="76200"/>
              </a:xfrm>
              <a:prstGeom prst="rect">
                <a:avLst/>
              </a:prstGeom>
              <a:solidFill>
                <a:srgbClr val="86A9DC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square" lIns="0" tIns="0" rIns="0" bIns="0" anchor="b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09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SzPct val="110000"/>
                  <a:defRPr/>
                </a:pPr>
                <a:endParaRPr lang="zh-CN" altLang="en-US" sz="1200" kern="0">
                  <a:solidFill>
                    <a:srgbClr val="000000"/>
                  </a:solidFill>
                  <a:latin typeface="Calibri" panose="020F0502020204030204" pitchFamily="34" charset="0"/>
                  <a:ea typeface="等线" panose="02010600030101010101" pitchFamily="2" charset="-122"/>
                  <a:cs typeface="Calibri" panose="020F0502020204030204" pitchFamily="34" charset="0"/>
                </a:endParaRPr>
              </a:p>
            </p:txBody>
          </p:sp>
          <p:sp>
            <p:nvSpPr>
              <p:cNvPr id="93" name="Rectangle 6"/>
              <p:cNvSpPr>
                <a:spLocks noChangeArrowheads="1"/>
              </p:cNvSpPr>
              <p:nvPr/>
            </p:nvSpPr>
            <p:spPr bwMode="auto">
              <a:xfrm>
                <a:off x="1463117" y="35375"/>
                <a:ext cx="215900" cy="76200"/>
              </a:xfrm>
              <a:prstGeom prst="rect">
                <a:avLst/>
              </a:prstGeom>
              <a:solidFill>
                <a:srgbClr val="1B365D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square" lIns="0" tIns="0" rIns="0" bIns="0" anchor="b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09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SzPct val="110000"/>
                  <a:defRPr/>
                </a:pPr>
                <a:endParaRPr lang="zh-CN" altLang="en-US" sz="1200" kern="0">
                  <a:solidFill>
                    <a:srgbClr val="000000"/>
                  </a:solidFill>
                  <a:latin typeface="Calibri" panose="020F0502020204030204" pitchFamily="34" charset="0"/>
                  <a:ea typeface="等线" panose="02010600030101010101" pitchFamily="2" charset="-122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68" name="Rectangle 7"/>
            <p:cNvSpPr>
              <a:spLocks noChangeArrowheads="1"/>
            </p:cNvSpPr>
            <p:nvPr/>
          </p:nvSpPr>
          <p:spPr bwMode="auto">
            <a:xfrm>
              <a:off x="0" y="35366"/>
              <a:ext cx="514350" cy="682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b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defTabSz="914309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SzPct val="110000"/>
                <a:defRPr/>
              </a:pPr>
              <a:endParaRPr lang="zh-CN" altLang="en-US" sz="1200" kern="0">
                <a:solidFill>
                  <a:srgbClr val="000000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endParaRPr>
            </a:p>
          </p:txBody>
        </p:sp>
        <p:sp>
          <p:nvSpPr>
            <p:cNvPr id="71" name="Rectangle 8"/>
            <p:cNvSpPr>
              <a:spLocks noChangeArrowheads="1"/>
            </p:cNvSpPr>
            <p:nvPr/>
          </p:nvSpPr>
          <p:spPr bwMode="auto">
            <a:xfrm>
              <a:off x="198438" y="43303"/>
              <a:ext cx="301625" cy="682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b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defTabSz="914309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SzPct val="110000"/>
                <a:defRPr/>
              </a:pPr>
              <a:endParaRPr lang="zh-CN" altLang="en-US" sz="1200" kern="0">
                <a:solidFill>
                  <a:srgbClr val="000000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endParaRPr>
            </a:p>
          </p:txBody>
        </p:sp>
        <p:sp>
          <p:nvSpPr>
            <p:cNvPr id="72" name="Text Box 9"/>
            <p:cNvSpPr txBox="1">
              <a:spLocks noChangeArrowheads="1"/>
            </p:cNvSpPr>
            <p:nvPr/>
          </p:nvSpPr>
          <p:spPr bwMode="auto">
            <a:xfrm>
              <a:off x="492507" y="-28141"/>
              <a:ext cx="1079686" cy="2258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 type="none" w="sm" len="sm"/>
            </a:ln>
          </p:spPr>
          <p:txBody>
            <a:bodyPr wrap="squar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defTabSz="914309" fontAlgn="auto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altLang="zh-CN" sz="1467" kern="0" dirty="0">
                  <a:solidFill>
                    <a:srgbClr val="000000"/>
                  </a:solidFill>
                  <a:latin typeface="Calibri" panose="020F0502020204030204" pitchFamily="34" charset="0"/>
                  <a:ea typeface="等线" panose="02010600030101010101" pitchFamily="2" charset="-122"/>
                  <a:cs typeface="Calibri" panose="020F0502020204030204" pitchFamily="34" charset="0"/>
                </a:rPr>
                <a:t>BUMO</a:t>
              </a:r>
            </a:p>
          </p:txBody>
        </p:sp>
        <p:sp>
          <p:nvSpPr>
            <p:cNvPr id="73" name="Text Box 10"/>
            <p:cNvSpPr txBox="1">
              <a:spLocks noChangeArrowheads="1"/>
            </p:cNvSpPr>
            <p:nvPr/>
          </p:nvSpPr>
          <p:spPr bwMode="auto">
            <a:xfrm>
              <a:off x="4197353" y="-28140"/>
              <a:ext cx="1444625" cy="2258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 type="none" w="sm" len="sm"/>
            </a:ln>
          </p:spPr>
          <p:txBody>
            <a:bodyPr wrap="square" lIns="0" tIns="0" rIns="0" bIns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defTabSz="914309" fontAlgn="auto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altLang="zh-CN" sz="1467" kern="0" dirty="0">
                  <a:solidFill>
                    <a:srgbClr val="000000"/>
                  </a:solidFill>
                  <a:latin typeface="Calibri" panose="020F0502020204030204" pitchFamily="34" charset="0"/>
                  <a:ea typeface="等线" panose="02010600030101010101" pitchFamily="2" charset="-122"/>
                  <a:cs typeface="Calibri" panose="020F0502020204030204" pitchFamily="34" charset="0"/>
                </a:rPr>
                <a:t>P3M Usage</a:t>
              </a:r>
            </a:p>
          </p:txBody>
        </p:sp>
        <p:sp>
          <p:nvSpPr>
            <p:cNvPr id="75" name="Rectangle 11"/>
            <p:cNvSpPr>
              <a:spLocks noChangeArrowheads="1"/>
            </p:cNvSpPr>
            <p:nvPr/>
          </p:nvSpPr>
          <p:spPr bwMode="auto">
            <a:xfrm>
              <a:off x="168931" y="34581"/>
              <a:ext cx="215900" cy="77787"/>
            </a:xfrm>
            <a:prstGeom prst="rect">
              <a:avLst/>
            </a:prstGeom>
            <a:solidFill>
              <a:srgbClr val="1B365D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0" tIns="0" rIns="0" bIns="0" anchor="b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defTabSz="914309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SzPct val="110000"/>
                <a:defRPr/>
              </a:pPr>
              <a:endParaRPr lang="zh-CN" altLang="en-US" sz="1200" kern="0">
                <a:solidFill>
                  <a:srgbClr val="000000"/>
                </a:solidFill>
                <a:latin typeface="Calibri" panose="020F0502020204030204" pitchFamily="34" charset="0"/>
                <a:ea typeface="等线" panose="02010600030101010101" pitchFamily="2" charset="-122"/>
                <a:cs typeface="Calibri" panose="020F0502020204030204" pitchFamily="34" charset="0"/>
              </a:endParaRPr>
            </a:p>
          </p:txBody>
        </p:sp>
        <p:grpSp>
          <p:nvGrpSpPr>
            <p:cNvPr id="76" name="组合 75"/>
            <p:cNvGrpSpPr>
              <a:grpSpLocks/>
            </p:cNvGrpSpPr>
            <p:nvPr/>
          </p:nvGrpSpPr>
          <p:grpSpPr bwMode="auto">
            <a:xfrm>
              <a:off x="3516581" y="29819"/>
              <a:ext cx="596900" cy="87313"/>
              <a:chOff x="3516581" y="29819"/>
              <a:chExt cx="596900" cy="87313"/>
            </a:xfrm>
          </p:grpSpPr>
          <p:sp>
            <p:nvSpPr>
              <p:cNvPr id="88" name="Rectangle 12"/>
              <p:cNvSpPr>
                <a:spLocks noChangeArrowheads="1"/>
              </p:cNvSpPr>
              <p:nvPr/>
            </p:nvSpPr>
            <p:spPr bwMode="auto">
              <a:xfrm>
                <a:off x="3729305" y="29819"/>
                <a:ext cx="193675" cy="87313"/>
              </a:xfrm>
              <a:prstGeom prst="rect">
                <a:avLst/>
              </a:prstGeom>
              <a:solidFill>
                <a:srgbClr val="86A9DC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square" lIns="0" tIns="0" rIns="0" bIns="0" anchor="b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09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SzPct val="110000"/>
                  <a:defRPr/>
                </a:pPr>
                <a:endParaRPr lang="zh-CN" altLang="en-US" sz="1200" kern="0">
                  <a:solidFill>
                    <a:srgbClr val="000000"/>
                  </a:solidFill>
                  <a:latin typeface="Calibri" panose="020F0502020204030204" pitchFamily="34" charset="0"/>
                  <a:ea typeface="等线" panose="02010600030101010101" pitchFamily="2" charset="-122"/>
                  <a:cs typeface="Calibri" panose="020F0502020204030204" pitchFamily="34" charset="0"/>
                </a:endParaRPr>
              </a:p>
            </p:txBody>
          </p:sp>
          <p:sp>
            <p:nvSpPr>
              <p:cNvPr id="89" name="Rectangle 13"/>
              <p:cNvSpPr>
                <a:spLocks noChangeArrowheads="1"/>
              </p:cNvSpPr>
              <p:nvPr/>
            </p:nvSpPr>
            <p:spPr bwMode="auto">
              <a:xfrm>
                <a:off x="3516581" y="29819"/>
                <a:ext cx="215900" cy="87313"/>
              </a:xfrm>
              <a:prstGeom prst="rect">
                <a:avLst/>
              </a:prstGeom>
              <a:solidFill>
                <a:srgbClr val="1B365D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square" lIns="0" tIns="0" rIns="0" bIns="0" anchor="b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09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SzPct val="110000"/>
                  <a:defRPr/>
                </a:pPr>
                <a:endParaRPr lang="zh-CN" altLang="en-US" sz="1200" kern="0">
                  <a:solidFill>
                    <a:srgbClr val="000000"/>
                  </a:solidFill>
                  <a:latin typeface="Calibri" panose="020F0502020204030204" pitchFamily="34" charset="0"/>
                  <a:ea typeface="等线" panose="02010600030101010101" pitchFamily="2" charset="-122"/>
                  <a:cs typeface="Calibri" panose="020F0502020204030204" pitchFamily="34" charset="0"/>
                </a:endParaRPr>
              </a:p>
            </p:txBody>
          </p:sp>
          <p:sp>
            <p:nvSpPr>
              <p:cNvPr id="90" name="Rectangle 14"/>
              <p:cNvSpPr>
                <a:spLocks noChangeArrowheads="1"/>
              </p:cNvSpPr>
              <p:nvPr/>
            </p:nvSpPr>
            <p:spPr bwMode="auto">
              <a:xfrm>
                <a:off x="3919806" y="29819"/>
                <a:ext cx="193675" cy="87313"/>
              </a:xfrm>
              <a:prstGeom prst="rect">
                <a:avLst/>
              </a:prstGeom>
              <a:solidFill>
                <a:srgbClr val="C3D4ED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square" lIns="0" tIns="0" rIns="0" bIns="0" anchor="b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309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SzPct val="110000"/>
                  <a:defRPr/>
                </a:pPr>
                <a:endParaRPr lang="zh-CN" altLang="en-US" sz="1200" kern="0">
                  <a:solidFill>
                    <a:srgbClr val="000000"/>
                  </a:solidFill>
                  <a:latin typeface="Calibri" panose="020F0502020204030204" pitchFamily="34" charset="0"/>
                  <a:ea typeface="等线" panose="02010600030101010101" pitchFamily="2" charset="-122"/>
                  <a:cs typeface="Calibri" panose="020F0502020204030204" pitchFamily="34" charset="0"/>
                </a:endParaRPr>
              </a:p>
            </p:txBody>
          </p:sp>
        </p:grpSp>
      </p:grpSp>
      <p:grpSp>
        <p:nvGrpSpPr>
          <p:cNvPr id="3" name="组合 2"/>
          <p:cNvGrpSpPr/>
          <p:nvPr/>
        </p:nvGrpSpPr>
        <p:grpSpPr>
          <a:xfrm>
            <a:off x="685612" y="2507752"/>
            <a:ext cx="8211898" cy="575185"/>
            <a:chOff x="6209866" y="2462230"/>
            <a:chExt cx="8212969" cy="575260"/>
          </a:xfrm>
        </p:grpSpPr>
        <p:pic>
          <p:nvPicPr>
            <p:cNvPr id="83" name="图片 8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3657121" y="2462230"/>
              <a:ext cx="765714" cy="501004"/>
            </a:xfrm>
            <a:prstGeom prst="rect">
              <a:avLst/>
            </a:prstGeom>
          </p:spPr>
        </p:pic>
        <p:pic>
          <p:nvPicPr>
            <p:cNvPr id="87" name="图片 8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09866" y="2554370"/>
              <a:ext cx="805200" cy="483120"/>
            </a:xfrm>
            <a:prstGeom prst="rect">
              <a:avLst/>
            </a:prstGeom>
          </p:spPr>
        </p:pic>
        <p:pic>
          <p:nvPicPr>
            <p:cNvPr id="102" name="图片 101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186126" y="2494296"/>
              <a:ext cx="986388" cy="543022"/>
            </a:xfrm>
            <a:prstGeom prst="rect">
              <a:avLst/>
            </a:prstGeom>
          </p:spPr>
        </p:pic>
        <p:pic>
          <p:nvPicPr>
            <p:cNvPr id="108" name="图片 107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598473" y="2476481"/>
              <a:ext cx="1117115" cy="560837"/>
            </a:xfrm>
            <a:prstGeom prst="rect">
              <a:avLst/>
            </a:prstGeom>
          </p:spPr>
        </p:pic>
      </p:grpSp>
      <p:graphicFrame>
        <p:nvGraphicFramePr>
          <p:cNvPr id="54" name="表格 5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5434359"/>
              </p:ext>
            </p:extLst>
          </p:nvPr>
        </p:nvGraphicFramePr>
        <p:xfrm>
          <a:off x="11322" y="2169024"/>
          <a:ext cx="12118640" cy="3707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23728">
                  <a:extLst>
                    <a:ext uri="{9D8B030D-6E8A-4147-A177-3AD203B41FA5}">
                      <a16:colId xmlns:a16="http://schemas.microsoft.com/office/drawing/2014/main" val="1453972359"/>
                    </a:ext>
                  </a:extLst>
                </a:gridCol>
                <a:gridCol w="2423728">
                  <a:extLst>
                    <a:ext uri="{9D8B030D-6E8A-4147-A177-3AD203B41FA5}">
                      <a16:colId xmlns:a16="http://schemas.microsoft.com/office/drawing/2014/main" val="3112656998"/>
                    </a:ext>
                  </a:extLst>
                </a:gridCol>
                <a:gridCol w="2423728">
                  <a:extLst>
                    <a:ext uri="{9D8B030D-6E8A-4147-A177-3AD203B41FA5}">
                      <a16:colId xmlns:a16="http://schemas.microsoft.com/office/drawing/2014/main" val="903485456"/>
                    </a:ext>
                  </a:extLst>
                </a:gridCol>
                <a:gridCol w="2423728">
                  <a:extLst>
                    <a:ext uri="{9D8B030D-6E8A-4147-A177-3AD203B41FA5}">
                      <a16:colId xmlns:a16="http://schemas.microsoft.com/office/drawing/2014/main" val="1600042287"/>
                    </a:ext>
                  </a:extLst>
                </a:gridCol>
                <a:gridCol w="2423728">
                  <a:extLst>
                    <a:ext uri="{9D8B030D-6E8A-4147-A177-3AD203B41FA5}">
                      <a16:colId xmlns:a16="http://schemas.microsoft.com/office/drawing/2014/main" val="658924163"/>
                    </a:ext>
                  </a:extLst>
                </a:gridCol>
              </a:tblGrid>
              <a:tr h="370792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b="1" dirty="0">
                          <a:solidFill>
                            <a:srgbClr val="0000FF"/>
                          </a:solidFill>
                        </a:rPr>
                        <a:t>6 </a:t>
                      </a:r>
                      <a:r>
                        <a:rPr lang="en-US" altLang="zh-CN" sz="1400" b="1" i="1" dirty="0">
                          <a:solidFill>
                            <a:srgbClr val="0000FF"/>
                          </a:solidFill>
                        </a:rPr>
                        <a:t>(</a:t>
                      </a:r>
                      <a:r>
                        <a:rPr lang="en-US" altLang="zh-CN" sz="1400" b="1" i="1" baseline="0" dirty="0">
                          <a:solidFill>
                            <a:srgbClr val="0000FF"/>
                          </a:solidFill>
                        </a:rPr>
                        <a:t>8</a:t>
                      </a:r>
                      <a:r>
                        <a:rPr lang="en-US" altLang="zh-CN" sz="1400" b="1" i="1" dirty="0">
                          <a:solidFill>
                            <a:srgbClr val="0000FF"/>
                          </a:solidFill>
                        </a:rPr>
                        <a:t>)</a:t>
                      </a:r>
                      <a:endParaRPr lang="zh-CN" altLang="en-US" sz="1600" b="1" dirty="0">
                        <a:solidFill>
                          <a:srgbClr val="0000FF"/>
                        </a:solidFill>
                      </a:endParaRPr>
                    </a:p>
                  </a:txBody>
                  <a:tcPr marL="91428" marR="91428" marT="45714" marB="45714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b="1" dirty="0">
                          <a:solidFill>
                            <a:srgbClr val="0000FF"/>
                          </a:solidFill>
                        </a:rPr>
                        <a:t>7 </a:t>
                      </a:r>
                      <a:r>
                        <a:rPr lang="en-US" altLang="zh-CN" sz="1400" b="1" i="1" dirty="0">
                          <a:solidFill>
                            <a:srgbClr val="0000FF"/>
                          </a:solidFill>
                        </a:rPr>
                        <a:t>(7</a:t>
                      </a:r>
                      <a:r>
                        <a:rPr lang="en-US" altLang="zh-CN" sz="1400" b="1" i="1" baseline="0" dirty="0">
                          <a:solidFill>
                            <a:srgbClr val="0000FF"/>
                          </a:solidFill>
                        </a:rPr>
                        <a:t>)</a:t>
                      </a:r>
                      <a:endParaRPr lang="zh-CN" altLang="en-US" sz="1600" b="1" dirty="0">
                        <a:solidFill>
                          <a:srgbClr val="0000FF"/>
                        </a:solidFill>
                      </a:endParaRPr>
                    </a:p>
                  </a:txBody>
                  <a:tcPr marL="91428" marR="91428" marT="45714" marB="45714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b="1" dirty="0">
                          <a:solidFill>
                            <a:srgbClr val="0000FF"/>
                          </a:solidFill>
                        </a:rPr>
                        <a:t>8 </a:t>
                      </a:r>
                      <a:r>
                        <a:rPr lang="en-US" altLang="zh-CN" sz="1400" b="1" i="1" dirty="0">
                          <a:solidFill>
                            <a:srgbClr val="0000FF"/>
                          </a:solidFill>
                        </a:rPr>
                        <a:t>(</a:t>
                      </a:r>
                      <a:r>
                        <a:rPr lang="en-US" altLang="zh-CN" sz="1400" b="1" i="1" baseline="0" dirty="0">
                          <a:solidFill>
                            <a:srgbClr val="0000FF"/>
                          </a:solidFill>
                        </a:rPr>
                        <a:t>6</a:t>
                      </a:r>
                      <a:r>
                        <a:rPr lang="en-US" altLang="zh-CN" sz="1400" b="1" i="1" dirty="0">
                          <a:solidFill>
                            <a:srgbClr val="0000FF"/>
                          </a:solidFill>
                        </a:rPr>
                        <a:t>)</a:t>
                      </a:r>
                      <a:endParaRPr lang="zh-CN" altLang="en-US" sz="1600" b="1" dirty="0">
                        <a:solidFill>
                          <a:srgbClr val="0000FF"/>
                        </a:solidFill>
                      </a:endParaRPr>
                    </a:p>
                  </a:txBody>
                  <a:tcPr marL="91428" marR="91428" marT="45714" marB="45714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b="1" dirty="0">
                          <a:solidFill>
                            <a:srgbClr val="0000FF"/>
                          </a:solidFill>
                        </a:rPr>
                        <a:t>9 </a:t>
                      </a:r>
                      <a:r>
                        <a:rPr lang="en-US" altLang="zh-CN" sz="1400" b="1" i="1" dirty="0">
                          <a:solidFill>
                            <a:srgbClr val="0000FF"/>
                          </a:solidFill>
                        </a:rPr>
                        <a:t>(</a:t>
                      </a:r>
                      <a:r>
                        <a:rPr lang="en-US" altLang="zh-CN" sz="1400" b="1" i="1" baseline="0" dirty="0">
                          <a:solidFill>
                            <a:srgbClr val="0000FF"/>
                          </a:solidFill>
                        </a:rPr>
                        <a:t>9</a:t>
                      </a:r>
                      <a:r>
                        <a:rPr lang="en-US" altLang="zh-CN" sz="1400" b="1" i="1" dirty="0">
                          <a:solidFill>
                            <a:srgbClr val="0000FF"/>
                          </a:solidFill>
                        </a:rPr>
                        <a:t>)</a:t>
                      </a:r>
                      <a:endParaRPr lang="zh-CN" altLang="en-US" sz="1600" b="1" dirty="0">
                        <a:solidFill>
                          <a:srgbClr val="0000FF"/>
                        </a:solidFill>
                      </a:endParaRPr>
                    </a:p>
                  </a:txBody>
                  <a:tcPr marL="91428" marR="91428" marT="45714" marB="45714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b="1" dirty="0">
                          <a:solidFill>
                            <a:srgbClr val="0000FF"/>
                          </a:solidFill>
                        </a:rPr>
                        <a:t>10 </a:t>
                      </a:r>
                      <a:r>
                        <a:rPr lang="en-US" altLang="zh-CN" sz="1400" b="1" i="1" dirty="0">
                          <a:solidFill>
                            <a:srgbClr val="0000FF"/>
                          </a:solidFill>
                        </a:rPr>
                        <a:t>(</a:t>
                      </a:r>
                      <a:r>
                        <a:rPr lang="en-US" altLang="zh-CN" sz="1400" b="1" i="1" baseline="0" dirty="0">
                          <a:solidFill>
                            <a:srgbClr val="0000FF"/>
                          </a:solidFill>
                        </a:rPr>
                        <a:t>NA</a:t>
                      </a:r>
                      <a:r>
                        <a:rPr lang="en-US" altLang="zh-CN" sz="1400" b="1" i="1" dirty="0">
                          <a:solidFill>
                            <a:srgbClr val="0000FF"/>
                          </a:solidFill>
                        </a:rPr>
                        <a:t>)</a:t>
                      </a:r>
                      <a:endParaRPr lang="zh-CN" altLang="en-US" sz="1600" b="1" dirty="0">
                        <a:solidFill>
                          <a:srgbClr val="0000FF"/>
                        </a:solidFill>
                      </a:endParaRPr>
                    </a:p>
                  </a:txBody>
                  <a:tcPr marL="91428" marR="91428" marT="45714" marB="45714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4866977"/>
                  </a:ext>
                </a:extLst>
              </a:tr>
            </a:tbl>
          </a:graphicData>
        </a:graphic>
      </p:graphicFrame>
      <p:sp>
        <p:nvSpPr>
          <p:cNvPr id="40" name="矩形 39"/>
          <p:cNvSpPr/>
          <p:nvPr/>
        </p:nvSpPr>
        <p:spPr>
          <a:xfrm>
            <a:off x="60449" y="1844824"/>
            <a:ext cx="4559797" cy="3385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09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b="1" kern="0" dirty="0">
                <a:solidFill>
                  <a:srgbClr val="0000FF"/>
                </a:solidFill>
                <a:ea typeface="等线" panose="02010600030101010101" pitchFamily="2" charset="-122"/>
              </a:rPr>
              <a:t>W3 Ranking </a:t>
            </a:r>
            <a:r>
              <a:rPr lang="en-US" altLang="zh-CN" sz="1400" b="1" i="1" kern="0" dirty="0">
                <a:solidFill>
                  <a:srgbClr val="0000FF"/>
                </a:solidFill>
                <a:ea typeface="等线" panose="02010600030101010101" pitchFamily="2" charset="-122"/>
              </a:rPr>
              <a:t>(W2 Ranking)</a:t>
            </a:r>
            <a:endParaRPr lang="zh-CN" altLang="en-US" sz="1600" b="1" i="1" kern="0" dirty="0">
              <a:solidFill>
                <a:srgbClr val="0000FF"/>
              </a:solidFill>
              <a:ea typeface="等线" panose="02010600030101010101" pitchFamily="2" charset="-122"/>
            </a:endParaRPr>
          </a:p>
        </p:txBody>
      </p:sp>
      <p:sp>
        <p:nvSpPr>
          <p:cNvPr id="41" name="文本占位符 2"/>
          <p:cNvSpPr txBox="1">
            <a:spLocks/>
          </p:cNvSpPr>
          <p:nvPr/>
        </p:nvSpPr>
        <p:spPr>
          <a:xfrm>
            <a:off x="101192" y="6593965"/>
            <a:ext cx="7722206" cy="295460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 algn="l" defTabSz="1232168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2133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" indent="0" algn="l" defTabSz="1232168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9027" indent="-249027" algn="l" defTabSz="1232168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5783" indent="-254786" algn="l" defTabSz="1232168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–"/>
              <a:defRPr sz="1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8976" indent="-234632" algn="l" defTabSz="1232168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85000"/>
              <a:buFont typeface="Arial" panose="020B0604020202020204" pitchFamily="34" charset="0"/>
              <a:buChar char="•"/>
              <a:defRPr sz="1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88463" indent="-308042" algn="l" defTabSz="123216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004547" indent="-308042" algn="l" defTabSz="123216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620630" indent="-308042" algn="l" defTabSz="123216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36716" indent="-308042" algn="l" defTabSz="123216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32045" fontAlgn="auto">
              <a:defRPr/>
            </a:pPr>
            <a:r>
              <a:rPr lang="en-US" altLang="zh-CN" sz="1100" dirty="0">
                <a:solidFill>
                  <a:prstClr val="black"/>
                </a:solidFill>
                <a:latin typeface="Calibri" panose="020F0502020204030204" pitchFamily="34" charset="0"/>
                <a:ea typeface="等线" panose="02010600030101010101" pitchFamily="2" charset="-122"/>
              </a:rPr>
              <a:t>Base: Respondents in Guangzhou, n=200	* New test brand since wave 3</a:t>
            </a:r>
            <a:endParaRPr lang="zh-CN" altLang="en-US" sz="1100" dirty="0">
              <a:solidFill>
                <a:prstClr val="black"/>
              </a:solidFill>
              <a:latin typeface="Calibri" panose="020F0502020204030204" pitchFamily="34" charset="0"/>
              <a:ea typeface="等线" panose="02010600030101010101" pitchFamily="2" charset="-122"/>
            </a:endParaRPr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839A2E60-D4DE-440B-B852-90C6C07EF48E}"/>
              </a:ext>
            </a:extLst>
          </p:cNvPr>
          <p:cNvGrpSpPr/>
          <p:nvPr/>
        </p:nvGrpSpPr>
        <p:grpSpPr>
          <a:xfrm>
            <a:off x="10692999" y="2522001"/>
            <a:ext cx="811802" cy="481241"/>
            <a:chOff x="10746816" y="1834450"/>
            <a:chExt cx="811802" cy="481241"/>
          </a:xfrm>
        </p:grpSpPr>
        <p:pic>
          <p:nvPicPr>
            <p:cNvPr id="44" name="图片 43">
              <a:extLst>
                <a:ext uri="{FF2B5EF4-FFF2-40B4-BE49-F238E27FC236}">
                  <a16:creationId xmlns:a16="http://schemas.microsoft.com/office/drawing/2014/main" id="{EFC3F3CB-D8D3-49D2-81A9-9EABDF543E2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746816" y="1948988"/>
              <a:ext cx="584743" cy="366703"/>
            </a:xfrm>
            <a:prstGeom prst="rect">
              <a:avLst/>
            </a:prstGeom>
          </p:spPr>
        </p:pic>
        <p:sp>
          <p:nvSpPr>
            <p:cNvPr id="45" name="矩形 44">
              <a:extLst>
                <a:ext uri="{FF2B5EF4-FFF2-40B4-BE49-F238E27FC236}">
                  <a16:creationId xmlns:a16="http://schemas.microsoft.com/office/drawing/2014/main" id="{FBAC963F-5FD7-4633-8321-8EFCBB1D3CF5}"/>
                </a:ext>
              </a:extLst>
            </p:cNvPr>
            <p:cNvSpPr/>
            <p:nvPr/>
          </p:nvSpPr>
          <p:spPr>
            <a:xfrm>
              <a:off x="11271397" y="1834450"/>
              <a:ext cx="287221" cy="31389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600" kern="0" dirty="0">
                  <a:solidFill>
                    <a:sysClr val="windowText" lastClr="000000"/>
                  </a:solidFill>
                  <a:cs typeface="Calibri" panose="020F0502020204030204" pitchFamily="34" charset="0"/>
                </a:rPr>
                <a:t>*</a:t>
              </a:r>
              <a:endParaRPr lang="zh-CN" altLang="en-US" sz="1600" dirty="0"/>
            </a:p>
          </p:txBody>
        </p:sp>
      </p:grpSp>
      <p:grpSp>
        <p:nvGrpSpPr>
          <p:cNvPr id="46" name="组合 45">
            <a:extLst>
              <a:ext uri="{FF2B5EF4-FFF2-40B4-BE49-F238E27FC236}">
                <a16:creationId xmlns:a16="http://schemas.microsoft.com/office/drawing/2014/main" id="{5FCA3E2E-A1B0-42AA-9E60-046F01D67EE8}"/>
              </a:ext>
            </a:extLst>
          </p:cNvPr>
          <p:cNvGrpSpPr/>
          <p:nvPr/>
        </p:nvGrpSpPr>
        <p:grpSpPr>
          <a:xfrm>
            <a:off x="7067314" y="6588378"/>
            <a:ext cx="3168806" cy="246221"/>
            <a:chOff x="7067314" y="6588378"/>
            <a:chExt cx="3168806" cy="246221"/>
          </a:xfrm>
        </p:grpSpPr>
        <p:sp>
          <p:nvSpPr>
            <p:cNvPr id="47" name="TextBox 134">
              <a:extLst>
                <a:ext uri="{FF2B5EF4-FFF2-40B4-BE49-F238E27FC236}">
                  <a16:creationId xmlns:a16="http://schemas.microsoft.com/office/drawing/2014/main" id="{FC62D260-1341-4234-92D9-10DAD5009D75}"/>
                </a:ext>
              </a:extLst>
            </p:cNvPr>
            <p:cNvSpPr txBox="1"/>
            <p:nvPr/>
          </p:nvSpPr>
          <p:spPr>
            <a:xfrm>
              <a:off x="7679839" y="6588378"/>
              <a:ext cx="2556281" cy="246221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rtlCol="0" anchor="ctr">
              <a:spAutoFit/>
            </a:bodyPr>
            <a:lstStyle/>
            <a:p>
              <a:pPr defTabSz="1107370">
                <a:lnSpc>
                  <a:spcPts val="1200"/>
                </a:lnSpc>
                <a:defRPr/>
              </a:pPr>
              <a:r>
                <a:rPr lang="nl-BE" altLang="zh-CN" sz="1050" b="1" kern="0" dirty="0">
                  <a:ea typeface="黑体"/>
                </a:rPr>
                <a:t>Sig. </a:t>
              </a:r>
              <a:r>
                <a:rPr lang="nl-BE" altLang="zh-CN" sz="1050" b="1" kern="0" dirty="0">
                  <a:solidFill>
                    <a:srgbClr val="00B050"/>
                  </a:solidFill>
                  <a:ea typeface="黑体"/>
                </a:rPr>
                <a:t>HIGH </a:t>
              </a:r>
              <a:r>
                <a:rPr lang="nl-BE" altLang="zh-CN" sz="1050" b="1" kern="0" dirty="0">
                  <a:ea typeface="黑体"/>
                </a:rPr>
                <a:t>/ </a:t>
              </a:r>
              <a:r>
                <a:rPr lang="nl-BE" altLang="zh-CN" sz="1050" b="1" kern="0" dirty="0">
                  <a:solidFill>
                    <a:srgbClr val="FF0000"/>
                  </a:solidFill>
                  <a:ea typeface="黑体"/>
                </a:rPr>
                <a:t>LOW</a:t>
              </a:r>
              <a:r>
                <a:rPr lang="nl-BE" altLang="zh-CN" sz="1050" b="1" kern="0" dirty="0">
                  <a:ea typeface="黑体"/>
                </a:rPr>
                <a:t> vs. last wave @ 90% C.L.</a:t>
              </a:r>
              <a:endParaRPr lang="en-GB" sz="1050" b="1" kern="0" dirty="0">
                <a:ea typeface="黑体"/>
              </a:endParaRPr>
            </a:p>
          </p:txBody>
        </p:sp>
        <p:cxnSp>
          <p:nvCxnSpPr>
            <p:cNvPr id="48" name="直接箭头连接符 47">
              <a:extLst>
                <a:ext uri="{FF2B5EF4-FFF2-40B4-BE49-F238E27FC236}">
                  <a16:creationId xmlns:a16="http://schemas.microsoft.com/office/drawing/2014/main" id="{FCC3A28A-7D5D-49B4-8541-E3BC18CB837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067314" y="6664707"/>
              <a:ext cx="227124" cy="76661"/>
            </a:xfrm>
            <a:prstGeom prst="straightConnector1">
              <a:avLst/>
            </a:prstGeom>
            <a:ln w="19050">
              <a:solidFill>
                <a:srgbClr val="00B050"/>
              </a:solidFill>
              <a:prstDash val="solid"/>
              <a:headEnd type="none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直接箭头连接符 48">
              <a:extLst>
                <a:ext uri="{FF2B5EF4-FFF2-40B4-BE49-F238E27FC236}">
                  <a16:creationId xmlns:a16="http://schemas.microsoft.com/office/drawing/2014/main" id="{605AD33E-476C-47E1-B495-12795C8B01F8}"/>
                </a:ext>
              </a:extLst>
            </p:cNvPr>
            <p:cNvCxnSpPr>
              <a:cxnSpLocks/>
            </p:cNvCxnSpPr>
            <p:nvPr/>
          </p:nvCxnSpPr>
          <p:spPr>
            <a:xfrm>
              <a:off x="7427354" y="6651969"/>
              <a:ext cx="224232" cy="74380"/>
            </a:xfrm>
            <a:prstGeom prst="straightConnector1">
              <a:avLst/>
            </a:prstGeom>
            <a:ln w="19050">
              <a:solidFill>
                <a:srgbClr val="FF0000"/>
              </a:solidFill>
              <a:prstDash val="solid"/>
              <a:headEnd type="none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0" name="标题 3"/>
          <p:cNvSpPr txBox="1">
            <a:spLocks/>
          </p:cNvSpPr>
          <p:nvPr/>
        </p:nvSpPr>
        <p:spPr>
          <a:xfrm>
            <a:off x="162283" y="80628"/>
            <a:ext cx="9397943" cy="838421"/>
          </a:xfrm>
          <a:prstGeom prst="rect">
            <a:avLst/>
          </a:prstGeom>
          <a:noFill/>
        </p:spPr>
        <p:txBody>
          <a:bodyPr anchor="ctr"/>
          <a:lstStyle/>
          <a:p>
            <a:pPr defTabSz="914309" eaLnBrk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3200" kern="0" dirty="0">
                <a:solidFill>
                  <a:prstClr val="black"/>
                </a:solidFill>
                <a:ea typeface="等线" panose="02010600030101010101" pitchFamily="2" charset="-122"/>
                <a:cs typeface="Calibri" panose="020F0502020204030204" pitchFamily="34" charset="0"/>
              </a:rPr>
              <a:t>Brand Usage KPI by city</a:t>
            </a:r>
          </a:p>
        </p:txBody>
      </p:sp>
      <p:graphicFrame>
        <p:nvGraphicFramePr>
          <p:cNvPr id="42" name="Object 19">
            <a:extLst>
              <a:ext uri="{FF2B5EF4-FFF2-40B4-BE49-F238E27FC236}">
                <a16:creationId xmlns:a16="http://schemas.microsoft.com/office/drawing/2014/main" id="{F1301184-5702-4E7C-95A2-7EAC50B0FD2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80727960"/>
              </p:ext>
            </p:extLst>
          </p:nvPr>
        </p:nvGraphicFramePr>
        <p:xfrm>
          <a:off x="243090" y="2754145"/>
          <a:ext cx="11684002" cy="30825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9058380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9163472" y="6149663"/>
            <a:ext cx="2871621" cy="55394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zh-CN" alt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5926936" y="5603430"/>
            <a:ext cx="1508281" cy="48808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8"/>
            <a:endParaRPr lang="zh-CN" altLang="en-US">
              <a:solidFill>
                <a:prstClr val="white"/>
              </a:solidFill>
              <a:latin typeface="Calibri" panose="020F0502020204030204" pitchFamily="34" charset="0"/>
              <a:ea typeface="等线" panose="02010600030101010101" pitchFamily="2" charset="-122"/>
            </a:endParaRPr>
          </a:p>
        </p:txBody>
      </p:sp>
      <p:grpSp>
        <p:nvGrpSpPr>
          <p:cNvPr id="79" name="组合 78"/>
          <p:cNvGrpSpPr/>
          <p:nvPr/>
        </p:nvGrpSpPr>
        <p:grpSpPr>
          <a:xfrm>
            <a:off x="4415160" y="2628704"/>
            <a:ext cx="824457" cy="3358779"/>
            <a:chOff x="3345390" y="1471687"/>
            <a:chExt cx="824671" cy="3359653"/>
          </a:xfrm>
        </p:grpSpPr>
        <p:sp>
          <p:nvSpPr>
            <p:cNvPr id="80" name="矩形 79"/>
            <p:cNvSpPr/>
            <p:nvPr/>
          </p:nvSpPr>
          <p:spPr>
            <a:xfrm>
              <a:off x="3345390" y="4111340"/>
              <a:ext cx="547447" cy="720000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70">
                <a:defRPr/>
              </a:pPr>
              <a:endParaRPr lang="zh-CN" altLang="en-US" sz="1400" b="1" kern="0" dirty="0">
                <a:solidFill>
                  <a:srgbClr val="FFFFFF"/>
                </a:solidFill>
                <a:latin typeface="Calibri" panose="020F0502020204030204" pitchFamily="34" charset="0"/>
                <a:ea typeface="黑体"/>
              </a:endParaRPr>
            </a:p>
          </p:txBody>
        </p:sp>
        <p:sp>
          <p:nvSpPr>
            <p:cNvPr id="81" name="Rectangle 16"/>
            <p:cNvSpPr/>
            <p:nvPr/>
          </p:nvSpPr>
          <p:spPr>
            <a:xfrm>
              <a:off x="3345391" y="1471687"/>
              <a:ext cx="547446" cy="795988"/>
            </a:xfrm>
            <a:prstGeom prst="rect">
              <a:avLst/>
            </a:prstGeom>
            <a:solidFill>
              <a:srgbClr val="1F497D"/>
            </a:solidFill>
            <a:ln w="25400" cap="flat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defTabSz="1107201">
                <a:defRPr/>
              </a:pPr>
              <a:endParaRPr lang="en-GB" sz="1400" b="1" kern="0" dirty="0">
                <a:solidFill>
                  <a:srgbClr val="FFFFFF"/>
                </a:solidFill>
                <a:ea typeface="黑体"/>
              </a:endParaRPr>
            </a:p>
          </p:txBody>
        </p:sp>
        <p:sp>
          <p:nvSpPr>
            <p:cNvPr id="82" name="Rectangle 24"/>
            <p:cNvSpPr/>
            <p:nvPr/>
          </p:nvSpPr>
          <p:spPr>
            <a:xfrm>
              <a:off x="3345391" y="2352858"/>
              <a:ext cx="547446" cy="792000"/>
            </a:xfrm>
            <a:prstGeom prst="rect">
              <a:avLst/>
            </a:prstGeom>
            <a:solidFill>
              <a:srgbClr val="C00000"/>
            </a:solidFill>
            <a:ln w="25400" cap="flat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defTabSz="1107201">
                <a:defRPr/>
              </a:pPr>
              <a:endParaRPr lang="en-GB" sz="1400" b="1" kern="0" dirty="0">
                <a:solidFill>
                  <a:srgbClr val="FFFFFF"/>
                </a:solidFill>
                <a:ea typeface="黑体"/>
              </a:endParaRPr>
            </a:p>
          </p:txBody>
        </p:sp>
        <p:sp>
          <p:nvSpPr>
            <p:cNvPr id="83" name="Rectangle 25"/>
            <p:cNvSpPr/>
            <p:nvPr/>
          </p:nvSpPr>
          <p:spPr>
            <a:xfrm>
              <a:off x="3345391" y="3241925"/>
              <a:ext cx="547446" cy="792000"/>
            </a:xfrm>
            <a:prstGeom prst="rect">
              <a:avLst/>
            </a:prstGeom>
            <a:solidFill>
              <a:srgbClr val="A1C46B"/>
            </a:solidFill>
            <a:ln w="25400" cap="flat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defTabSz="1107201">
                <a:defRPr/>
              </a:pPr>
              <a:endParaRPr lang="en-GB" sz="1400" b="1" kern="0" dirty="0">
                <a:solidFill>
                  <a:srgbClr val="FFFFFF"/>
                </a:solidFill>
                <a:ea typeface="黑体"/>
              </a:endParaRPr>
            </a:p>
          </p:txBody>
        </p:sp>
        <p:cxnSp>
          <p:nvCxnSpPr>
            <p:cNvPr id="84" name="Elbow Connector 20"/>
            <p:cNvCxnSpPr/>
            <p:nvPr/>
          </p:nvCxnSpPr>
          <p:spPr>
            <a:xfrm>
              <a:off x="3801299" y="1903872"/>
              <a:ext cx="15381" cy="828000"/>
            </a:xfrm>
            <a:prstGeom prst="bentConnector3">
              <a:avLst>
                <a:gd name="adj1" fmla="val 1425000"/>
              </a:avLst>
            </a:prstGeom>
            <a:noFill/>
            <a:ln w="38100" cap="flat" cmpd="sng" algn="ctr">
              <a:solidFill>
                <a:srgbClr val="281051"/>
              </a:solidFill>
              <a:prstDash val="solid"/>
              <a:headEnd type="oval" w="med" len="med"/>
              <a:tailEnd type="triangle" w="med" len="med"/>
            </a:ln>
            <a:effectLst/>
          </p:spPr>
        </p:cxnSp>
        <p:cxnSp>
          <p:nvCxnSpPr>
            <p:cNvPr id="85" name="Elbow Connector 76"/>
            <p:cNvCxnSpPr/>
            <p:nvPr/>
          </p:nvCxnSpPr>
          <p:spPr>
            <a:xfrm>
              <a:off x="3801299" y="2824608"/>
              <a:ext cx="15381" cy="792000"/>
            </a:xfrm>
            <a:prstGeom prst="bentConnector3">
              <a:avLst>
                <a:gd name="adj1" fmla="val 1425000"/>
              </a:avLst>
            </a:prstGeom>
            <a:noFill/>
            <a:ln w="38100" cap="flat" cmpd="sng" algn="ctr">
              <a:solidFill>
                <a:srgbClr val="281051"/>
              </a:solidFill>
              <a:prstDash val="solid"/>
              <a:headEnd type="oval" w="med" len="med"/>
              <a:tailEnd type="triangle" w="med" len="med"/>
            </a:ln>
            <a:effectLst/>
          </p:spPr>
        </p:cxnSp>
        <p:cxnSp>
          <p:nvCxnSpPr>
            <p:cNvPr id="87" name="Elbow Connector 76"/>
            <p:cNvCxnSpPr/>
            <p:nvPr/>
          </p:nvCxnSpPr>
          <p:spPr>
            <a:xfrm>
              <a:off x="3801299" y="3713608"/>
              <a:ext cx="15381" cy="684000"/>
            </a:xfrm>
            <a:prstGeom prst="bentConnector3">
              <a:avLst>
                <a:gd name="adj1" fmla="val 1425000"/>
              </a:avLst>
            </a:prstGeom>
            <a:noFill/>
            <a:ln w="38100" cap="flat" cmpd="sng" algn="ctr">
              <a:solidFill>
                <a:srgbClr val="281051"/>
              </a:solidFill>
              <a:prstDash val="solid"/>
              <a:headEnd type="oval" w="med" len="med"/>
              <a:tailEnd type="triangle" w="med" len="med"/>
            </a:ln>
            <a:effectLst/>
          </p:spPr>
        </p:cxnSp>
        <p:sp>
          <p:nvSpPr>
            <p:cNvPr id="88" name="Oval 21"/>
            <p:cNvSpPr/>
            <p:nvPr/>
          </p:nvSpPr>
          <p:spPr>
            <a:xfrm>
              <a:off x="3723738" y="2112025"/>
              <a:ext cx="436000" cy="324000"/>
            </a:xfrm>
            <a:prstGeom prst="ellipse">
              <a:avLst/>
            </a:prstGeom>
            <a:solidFill>
              <a:srgbClr val="FF0000"/>
            </a:solidFill>
            <a:ln w="25400" cap="flat" cmpd="sng" algn="ctr">
              <a:solidFill>
                <a:srgbClr val="FFFFFF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rtlCol="0" anchor="ctr"/>
            <a:lstStyle/>
            <a:p>
              <a:pPr algn="ctr" defTabSz="1107201">
                <a:defRPr/>
              </a:pPr>
              <a:endParaRPr lang="en-GB" sz="1454" b="1" kern="0" dirty="0">
                <a:solidFill>
                  <a:srgbClr val="FFFFFF"/>
                </a:solidFill>
                <a:ea typeface="黑体"/>
              </a:endParaRPr>
            </a:p>
          </p:txBody>
        </p:sp>
        <p:sp>
          <p:nvSpPr>
            <p:cNvPr id="89" name="Oval 77"/>
            <p:cNvSpPr/>
            <p:nvPr/>
          </p:nvSpPr>
          <p:spPr>
            <a:xfrm>
              <a:off x="3723738" y="3040501"/>
              <a:ext cx="436000" cy="324000"/>
            </a:xfrm>
            <a:prstGeom prst="ellipse">
              <a:avLst/>
            </a:prstGeom>
            <a:solidFill>
              <a:srgbClr val="281051"/>
            </a:solidFill>
            <a:ln w="25400" cap="flat" cmpd="sng" algn="ctr">
              <a:solidFill>
                <a:srgbClr val="FFFFFF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rtlCol="0" anchor="ctr"/>
            <a:lstStyle/>
            <a:p>
              <a:pPr algn="ctr" defTabSz="1107201">
                <a:defRPr/>
              </a:pPr>
              <a:endParaRPr lang="en-GB" sz="1454" b="1" kern="0" dirty="0">
                <a:solidFill>
                  <a:srgbClr val="FFFFFF"/>
                </a:solidFill>
                <a:ea typeface="黑体"/>
              </a:endParaRPr>
            </a:p>
          </p:txBody>
        </p:sp>
        <p:sp>
          <p:nvSpPr>
            <p:cNvPr id="90" name="Oval 77"/>
            <p:cNvSpPr/>
            <p:nvPr/>
          </p:nvSpPr>
          <p:spPr>
            <a:xfrm>
              <a:off x="3734061" y="3869618"/>
              <a:ext cx="436000" cy="324000"/>
            </a:xfrm>
            <a:prstGeom prst="ellipse">
              <a:avLst/>
            </a:prstGeom>
            <a:solidFill>
              <a:srgbClr val="281051"/>
            </a:solidFill>
            <a:ln w="25400" cap="flat" cmpd="sng" algn="ctr">
              <a:solidFill>
                <a:srgbClr val="FFFFFF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rtlCol="0" anchor="ctr"/>
            <a:lstStyle/>
            <a:p>
              <a:pPr algn="ctr" defTabSz="1107201">
                <a:defRPr/>
              </a:pPr>
              <a:endParaRPr lang="en-GB" sz="1454" b="1" kern="0" dirty="0">
                <a:solidFill>
                  <a:srgbClr val="FFFFFF"/>
                </a:solidFill>
                <a:ea typeface="黑体"/>
              </a:endParaRPr>
            </a:p>
          </p:txBody>
        </p:sp>
      </p:grpSp>
      <p:grpSp>
        <p:nvGrpSpPr>
          <p:cNvPr id="91" name="组合 90"/>
          <p:cNvGrpSpPr/>
          <p:nvPr/>
        </p:nvGrpSpPr>
        <p:grpSpPr>
          <a:xfrm>
            <a:off x="5365089" y="2628704"/>
            <a:ext cx="824457" cy="3358779"/>
            <a:chOff x="3345390" y="1471687"/>
            <a:chExt cx="824671" cy="3359653"/>
          </a:xfrm>
        </p:grpSpPr>
        <p:sp>
          <p:nvSpPr>
            <p:cNvPr id="92" name="矩形 91"/>
            <p:cNvSpPr/>
            <p:nvPr/>
          </p:nvSpPr>
          <p:spPr>
            <a:xfrm>
              <a:off x="3345390" y="4111340"/>
              <a:ext cx="547447" cy="720000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70">
                <a:defRPr/>
              </a:pPr>
              <a:endParaRPr lang="zh-CN" altLang="en-US" sz="1400" b="1" kern="0" dirty="0">
                <a:solidFill>
                  <a:srgbClr val="FFFFFF"/>
                </a:solidFill>
                <a:latin typeface="Calibri" panose="020F0502020204030204" pitchFamily="34" charset="0"/>
                <a:ea typeface="黑体"/>
              </a:endParaRPr>
            </a:p>
          </p:txBody>
        </p:sp>
        <p:sp>
          <p:nvSpPr>
            <p:cNvPr id="93" name="Rectangle 16"/>
            <p:cNvSpPr/>
            <p:nvPr/>
          </p:nvSpPr>
          <p:spPr>
            <a:xfrm>
              <a:off x="3345391" y="1471687"/>
              <a:ext cx="547446" cy="795988"/>
            </a:xfrm>
            <a:prstGeom prst="rect">
              <a:avLst/>
            </a:prstGeom>
            <a:solidFill>
              <a:srgbClr val="1F497D"/>
            </a:solidFill>
            <a:ln w="25400" cap="flat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defTabSz="1107201">
                <a:defRPr/>
              </a:pPr>
              <a:endParaRPr lang="en-GB" sz="1400" b="1" kern="0" dirty="0">
                <a:solidFill>
                  <a:srgbClr val="FFFFFF"/>
                </a:solidFill>
                <a:ea typeface="黑体"/>
              </a:endParaRPr>
            </a:p>
          </p:txBody>
        </p:sp>
        <p:sp>
          <p:nvSpPr>
            <p:cNvPr id="94" name="Rectangle 24"/>
            <p:cNvSpPr/>
            <p:nvPr/>
          </p:nvSpPr>
          <p:spPr>
            <a:xfrm>
              <a:off x="3345391" y="2352858"/>
              <a:ext cx="547446" cy="792000"/>
            </a:xfrm>
            <a:prstGeom prst="rect">
              <a:avLst/>
            </a:prstGeom>
            <a:solidFill>
              <a:srgbClr val="C00000"/>
            </a:solidFill>
            <a:ln w="25400" cap="flat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defTabSz="1107201">
                <a:defRPr/>
              </a:pPr>
              <a:endParaRPr lang="en-GB" sz="1400" b="1" kern="0" dirty="0">
                <a:solidFill>
                  <a:srgbClr val="FFFFFF"/>
                </a:solidFill>
                <a:ea typeface="黑体"/>
              </a:endParaRPr>
            </a:p>
          </p:txBody>
        </p:sp>
        <p:sp>
          <p:nvSpPr>
            <p:cNvPr id="95" name="Rectangle 25"/>
            <p:cNvSpPr/>
            <p:nvPr/>
          </p:nvSpPr>
          <p:spPr>
            <a:xfrm>
              <a:off x="3345391" y="3241925"/>
              <a:ext cx="547446" cy="792000"/>
            </a:xfrm>
            <a:prstGeom prst="rect">
              <a:avLst/>
            </a:prstGeom>
            <a:solidFill>
              <a:srgbClr val="A1C46B"/>
            </a:solidFill>
            <a:ln w="25400" cap="flat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defTabSz="1107201">
                <a:defRPr/>
              </a:pPr>
              <a:endParaRPr lang="en-GB" sz="1400" b="1" kern="0" dirty="0">
                <a:solidFill>
                  <a:srgbClr val="FFFFFF"/>
                </a:solidFill>
                <a:ea typeface="黑体"/>
              </a:endParaRPr>
            </a:p>
          </p:txBody>
        </p:sp>
        <p:cxnSp>
          <p:nvCxnSpPr>
            <p:cNvPr id="96" name="Elbow Connector 20"/>
            <p:cNvCxnSpPr/>
            <p:nvPr/>
          </p:nvCxnSpPr>
          <p:spPr>
            <a:xfrm>
              <a:off x="3801299" y="1903872"/>
              <a:ext cx="15381" cy="828000"/>
            </a:xfrm>
            <a:prstGeom prst="bentConnector3">
              <a:avLst>
                <a:gd name="adj1" fmla="val 1425000"/>
              </a:avLst>
            </a:prstGeom>
            <a:noFill/>
            <a:ln w="38100" cap="flat" cmpd="sng" algn="ctr">
              <a:solidFill>
                <a:srgbClr val="281051"/>
              </a:solidFill>
              <a:prstDash val="solid"/>
              <a:headEnd type="oval" w="med" len="med"/>
              <a:tailEnd type="triangle" w="med" len="med"/>
            </a:ln>
            <a:effectLst/>
          </p:spPr>
        </p:cxnSp>
        <p:cxnSp>
          <p:nvCxnSpPr>
            <p:cNvPr id="97" name="Elbow Connector 76"/>
            <p:cNvCxnSpPr/>
            <p:nvPr/>
          </p:nvCxnSpPr>
          <p:spPr>
            <a:xfrm>
              <a:off x="3801299" y="2824608"/>
              <a:ext cx="15381" cy="792000"/>
            </a:xfrm>
            <a:prstGeom prst="bentConnector3">
              <a:avLst>
                <a:gd name="adj1" fmla="val 1425000"/>
              </a:avLst>
            </a:prstGeom>
            <a:noFill/>
            <a:ln w="38100" cap="flat" cmpd="sng" algn="ctr">
              <a:solidFill>
                <a:srgbClr val="281051"/>
              </a:solidFill>
              <a:prstDash val="solid"/>
              <a:headEnd type="oval" w="med" len="med"/>
              <a:tailEnd type="triangle" w="med" len="med"/>
            </a:ln>
            <a:effectLst/>
          </p:spPr>
        </p:cxnSp>
        <p:cxnSp>
          <p:nvCxnSpPr>
            <p:cNvPr id="99" name="Elbow Connector 76"/>
            <p:cNvCxnSpPr/>
            <p:nvPr/>
          </p:nvCxnSpPr>
          <p:spPr>
            <a:xfrm>
              <a:off x="3801299" y="3713608"/>
              <a:ext cx="15381" cy="684000"/>
            </a:xfrm>
            <a:prstGeom prst="bentConnector3">
              <a:avLst>
                <a:gd name="adj1" fmla="val 1425000"/>
              </a:avLst>
            </a:prstGeom>
            <a:noFill/>
            <a:ln w="38100" cap="flat" cmpd="sng" algn="ctr">
              <a:solidFill>
                <a:srgbClr val="281051"/>
              </a:solidFill>
              <a:prstDash val="solid"/>
              <a:headEnd type="oval" w="med" len="med"/>
              <a:tailEnd type="triangle" w="med" len="med"/>
            </a:ln>
            <a:effectLst/>
          </p:spPr>
        </p:cxnSp>
        <p:sp>
          <p:nvSpPr>
            <p:cNvPr id="101" name="Oval 77"/>
            <p:cNvSpPr/>
            <p:nvPr/>
          </p:nvSpPr>
          <p:spPr>
            <a:xfrm>
              <a:off x="3723738" y="3040501"/>
              <a:ext cx="436000" cy="324000"/>
            </a:xfrm>
            <a:prstGeom prst="ellipse">
              <a:avLst/>
            </a:prstGeom>
            <a:solidFill>
              <a:srgbClr val="281051"/>
            </a:solidFill>
            <a:ln w="25400" cap="flat" cmpd="sng" algn="ctr">
              <a:solidFill>
                <a:srgbClr val="FFFFFF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rtlCol="0" anchor="ctr"/>
            <a:lstStyle/>
            <a:p>
              <a:pPr algn="ctr" defTabSz="1107201">
                <a:defRPr/>
              </a:pPr>
              <a:endParaRPr lang="en-GB" sz="1454" b="1" kern="0" dirty="0">
                <a:solidFill>
                  <a:srgbClr val="FFFFFF"/>
                </a:solidFill>
                <a:ea typeface="黑体"/>
              </a:endParaRPr>
            </a:p>
          </p:txBody>
        </p:sp>
        <p:sp>
          <p:nvSpPr>
            <p:cNvPr id="102" name="Oval 77"/>
            <p:cNvSpPr/>
            <p:nvPr/>
          </p:nvSpPr>
          <p:spPr>
            <a:xfrm>
              <a:off x="3734061" y="3869618"/>
              <a:ext cx="436000" cy="324000"/>
            </a:xfrm>
            <a:prstGeom prst="ellipse">
              <a:avLst/>
            </a:prstGeom>
            <a:solidFill>
              <a:srgbClr val="281051"/>
            </a:solidFill>
            <a:ln w="25400" cap="flat" cmpd="sng" algn="ctr">
              <a:solidFill>
                <a:srgbClr val="FFFFFF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rtlCol="0" anchor="ctr"/>
            <a:lstStyle/>
            <a:p>
              <a:pPr algn="ctr" defTabSz="1107201">
                <a:defRPr/>
              </a:pPr>
              <a:endParaRPr lang="en-GB" sz="1454" b="1" kern="0" dirty="0">
                <a:solidFill>
                  <a:srgbClr val="FFFFFF"/>
                </a:solidFill>
                <a:ea typeface="黑体"/>
              </a:endParaRPr>
            </a:p>
          </p:txBody>
        </p:sp>
      </p:grpSp>
      <p:grpSp>
        <p:nvGrpSpPr>
          <p:cNvPr id="106" name="组合 105"/>
          <p:cNvGrpSpPr/>
          <p:nvPr/>
        </p:nvGrpSpPr>
        <p:grpSpPr>
          <a:xfrm>
            <a:off x="6310313" y="2626761"/>
            <a:ext cx="814136" cy="3358779"/>
            <a:chOff x="3345390" y="1471687"/>
            <a:chExt cx="814348" cy="3359653"/>
          </a:xfrm>
        </p:grpSpPr>
        <p:sp>
          <p:nvSpPr>
            <p:cNvPr id="107" name="矩形 106"/>
            <p:cNvSpPr/>
            <p:nvPr/>
          </p:nvSpPr>
          <p:spPr>
            <a:xfrm>
              <a:off x="3345390" y="4111340"/>
              <a:ext cx="547447" cy="720000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70">
                <a:defRPr/>
              </a:pPr>
              <a:endParaRPr lang="zh-CN" altLang="en-US" sz="1400" b="1" kern="0" dirty="0">
                <a:solidFill>
                  <a:srgbClr val="FFFFFF"/>
                </a:solidFill>
                <a:latin typeface="Calibri" panose="020F0502020204030204" pitchFamily="34" charset="0"/>
                <a:ea typeface="黑体"/>
              </a:endParaRPr>
            </a:p>
          </p:txBody>
        </p:sp>
        <p:sp>
          <p:nvSpPr>
            <p:cNvPr id="108" name="Rectangle 16"/>
            <p:cNvSpPr/>
            <p:nvPr/>
          </p:nvSpPr>
          <p:spPr>
            <a:xfrm>
              <a:off x="3345391" y="1471687"/>
              <a:ext cx="547446" cy="795988"/>
            </a:xfrm>
            <a:prstGeom prst="rect">
              <a:avLst/>
            </a:prstGeom>
            <a:solidFill>
              <a:srgbClr val="1F497D"/>
            </a:solidFill>
            <a:ln w="25400" cap="flat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defTabSz="1107201">
                <a:defRPr/>
              </a:pPr>
              <a:endParaRPr lang="en-GB" sz="1400" b="1" kern="0" dirty="0">
                <a:solidFill>
                  <a:srgbClr val="FFFFFF"/>
                </a:solidFill>
                <a:ea typeface="黑体"/>
              </a:endParaRPr>
            </a:p>
          </p:txBody>
        </p:sp>
        <p:sp>
          <p:nvSpPr>
            <p:cNvPr id="109" name="Rectangle 24"/>
            <p:cNvSpPr/>
            <p:nvPr/>
          </p:nvSpPr>
          <p:spPr>
            <a:xfrm>
              <a:off x="3345391" y="2352858"/>
              <a:ext cx="547446" cy="792000"/>
            </a:xfrm>
            <a:prstGeom prst="rect">
              <a:avLst/>
            </a:prstGeom>
            <a:solidFill>
              <a:srgbClr val="C00000"/>
            </a:solidFill>
            <a:ln w="25400" cap="flat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defTabSz="1107201">
                <a:defRPr/>
              </a:pPr>
              <a:endParaRPr lang="en-GB" sz="1400" b="1" kern="0" dirty="0">
                <a:solidFill>
                  <a:srgbClr val="FFFFFF"/>
                </a:solidFill>
                <a:ea typeface="黑体"/>
              </a:endParaRPr>
            </a:p>
          </p:txBody>
        </p:sp>
        <p:sp>
          <p:nvSpPr>
            <p:cNvPr id="110" name="Rectangle 25"/>
            <p:cNvSpPr/>
            <p:nvPr/>
          </p:nvSpPr>
          <p:spPr>
            <a:xfrm>
              <a:off x="3345391" y="3241925"/>
              <a:ext cx="547446" cy="792000"/>
            </a:xfrm>
            <a:prstGeom prst="rect">
              <a:avLst/>
            </a:prstGeom>
            <a:solidFill>
              <a:srgbClr val="A1C46B"/>
            </a:solidFill>
            <a:ln w="25400" cap="flat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defTabSz="1107201">
                <a:defRPr/>
              </a:pPr>
              <a:endParaRPr lang="en-GB" sz="1400" b="1" kern="0" dirty="0">
                <a:solidFill>
                  <a:srgbClr val="FFFFFF"/>
                </a:solidFill>
                <a:ea typeface="黑体"/>
              </a:endParaRPr>
            </a:p>
          </p:txBody>
        </p:sp>
        <p:cxnSp>
          <p:nvCxnSpPr>
            <p:cNvPr id="111" name="Elbow Connector 20"/>
            <p:cNvCxnSpPr/>
            <p:nvPr/>
          </p:nvCxnSpPr>
          <p:spPr>
            <a:xfrm>
              <a:off x="3801299" y="1903872"/>
              <a:ext cx="15381" cy="828000"/>
            </a:xfrm>
            <a:prstGeom prst="bentConnector3">
              <a:avLst>
                <a:gd name="adj1" fmla="val 1425000"/>
              </a:avLst>
            </a:prstGeom>
            <a:noFill/>
            <a:ln w="38100" cap="flat" cmpd="sng" algn="ctr">
              <a:solidFill>
                <a:srgbClr val="281051"/>
              </a:solidFill>
              <a:prstDash val="solid"/>
              <a:headEnd type="oval" w="med" len="med"/>
              <a:tailEnd type="triangle" w="med" len="med"/>
            </a:ln>
            <a:effectLst/>
          </p:spPr>
        </p:cxnSp>
        <p:cxnSp>
          <p:nvCxnSpPr>
            <p:cNvPr id="112" name="Elbow Connector 76"/>
            <p:cNvCxnSpPr/>
            <p:nvPr/>
          </p:nvCxnSpPr>
          <p:spPr>
            <a:xfrm>
              <a:off x="3801299" y="2824608"/>
              <a:ext cx="15381" cy="792000"/>
            </a:xfrm>
            <a:prstGeom prst="bentConnector3">
              <a:avLst>
                <a:gd name="adj1" fmla="val 1425000"/>
              </a:avLst>
            </a:prstGeom>
            <a:noFill/>
            <a:ln w="38100" cap="flat" cmpd="sng" algn="ctr">
              <a:solidFill>
                <a:srgbClr val="281051"/>
              </a:solidFill>
              <a:prstDash val="solid"/>
              <a:headEnd type="oval" w="med" len="med"/>
              <a:tailEnd type="triangle" w="med" len="med"/>
            </a:ln>
            <a:effectLst/>
          </p:spPr>
        </p:cxnSp>
        <p:cxnSp>
          <p:nvCxnSpPr>
            <p:cNvPr id="114" name="Elbow Connector 76"/>
            <p:cNvCxnSpPr/>
            <p:nvPr/>
          </p:nvCxnSpPr>
          <p:spPr>
            <a:xfrm>
              <a:off x="3801299" y="3713608"/>
              <a:ext cx="15381" cy="684000"/>
            </a:xfrm>
            <a:prstGeom prst="bentConnector3">
              <a:avLst>
                <a:gd name="adj1" fmla="val 1425000"/>
              </a:avLst>
            </a:prstGeom>
            <a:noFill/>
            <a:ln w="38100" cap="flat" cmpd="sng" algn="ctr">
              <a:solidFill>
                <a:srgbClr val="281051"/>
              </a:solidFill>
              <a:prstDash val="solid"/>
              <a:headEnd type="oval" w="med" len="med"/>
              <a:tailEnd type="triangle" w="med" len="med"/>
            </a:ln>
            <a:effectLst/>
          </p:spPr>
        </p:cxnSp>
        <p:sp>
          <p:nvSpPr>
            <p:cNvPr id="115" name="Oval 21"/>
            <p:cNvSpPr/>
            <p:nvPr/>
          </p:nvSpPr>
          <p:spPr>
            <a:xfrm>
              <a:off x="3723738" y="2139321"/>
              <a:ext cx="436000" cy="324000"/>
            </a:xfrm>
            <a:prstGeom prst="ellipse">
              <a:avLst/>
            </a:prstGeom>
            <a:solidFill>
              <a:srgbClr val="281051"/>
            </a:solidFill>
            <a:ln w="25400" cap="flat" cmpd="sng" algn="ctr">
              <a:solidFill>
                <a:srgbClr val="FFFFFF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rtlCol="0" anchor="ctr"/>
            <a:lstStyle/>
            <a:p>
              <a:pPr algn="ctr" defTabSz="1107201">
                <a:defRPr/>
              </a:pPr>
              <a:endParaRPr lang="en-GB" sz="1454" b="1" kern="0" dirty="0">
                <a:solidFill>
                  <a:srgbClr val="FFFFFF"/>
                </a:solidFill>
                <a:ea typeface="黑体"/>
              </a:endParaRPr>
            </a:p>
          </p:txBody>
        </p:sp>
      </p:grpSp>
      <p:grpSp>
        <p:nvGrpSpPr>
          <p:cNvPr id="134" name="组合 133"/>
          <p:cNvGrpSpPr/>
          <p:nvPr/>
        </p:nvGrpSpPr>
        <p:grpSpPr>
          <a:xfrm>
            <a:off x="7222741" y="2624756"/>
            <a:ext cx="814136" cy="3358779"/>
            <a:chOff x="3345390" y="1471687"/>
            <a:chExt cx="814348" cy="3359653"/>
          </a:xfrm>
        </p:grpSpPr>
        <p:sp>
          <p:nvSpPr>
            <p:cNvPr id="135" name="矩形 134"/>
            <p:cNvSpPr/>
            <p:nvPr/>
          </p:nvSpPr>
          <p:spPr>
            <a:xfrm>
              <a:off x="3345390" y="4111340"/>
              <a:ext cx="547447" cy="720000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70">
                <a:defRPr/>
              </a:pPr>
              <a:endParaRPr lang="zh-CN" altLang="en-US" sz="1400" b="1" kern="0" dirty="0">
                <a:solidFill>
                  <a:srgbClr val="FFFFFF"/>
                </a:solidFill>
                <a:latin typeface="Calibri" panose="020F0502020204030204" pitchFamily="34" charset="0"/>
                <a:ea typeface="黑体"/>
              </a:endParaRPr>
            </a:p>
          </p:txBody>
        </p:sp>
        <p:sp>
          <p:nvSpPr>
            <p:cNvPr id="136" name="Rectangle 16"/>
            <p:cNvSpPr/>
            <p:nvPr/>
          </p:nvSpPr>
          <p:spPr>
            <a:xfrm>
              <a:off x="3345391" y="1471687"/>
              <a:ext cx="547446" cy="795988"/>
            </a:xfrm>
            <a:prstGeom prst="rect">
              <a:avLst/>
            </a:prstGeom>
            <a:solidFill>
              <a:srgbClr val="1F497D"/>
            </a:solidFill>
            <a:ln w="25400" cap="flat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defTabSz="1107201">
                <a:defRPr/>
              </a:pPr>
              <a:endParaRPr lang="en-GB" sz="1400" b="1" kern="0" dirty="0">
                <a:solidFill>
                  <a:srgbClr val="FFFFFF"/>
                </a:solidFill>
                <a:ea typeface="黑体"/>
              </a:endParaRPr>
            </a:p>
          </p:txBody>
        </p:sp>
        <p:sp>
          <p:nvSpPr>
            <p:cNvPr id="137" name="Rectangle 24"/>
            <p:cNvSpPr/>
            <p:nvPr/>
          </p:nvSpPr>
          <p:spPr>
            <a:xfrm>
              <a:off x="3345391" y="2352858"/>
              <a:ext cx="547446" cy="792000"/>
            </a:xfrm>
            <a:prstGeom prst="rect">
              <a:avLst/>
            </a:prstGeom>
            <a:solidFill>
              <a:srgbClr val="C00000"/>
            </a:solidFill>
            <a:ln w="25400" cap="flat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defTabSz="1107201">
                <a:defRPr/>
              </a:pPr>
              <a:endParaRPr lang="en-GB" sz="1400" b="1" kern="0" dirty="0">
                <a:solidFill>
                  <a:srgbClr val="FFFFFF"/>
                </a:solidFill>
                <a:ea typeface="黑体"/>
              </a:endParaRPr>
            </a:p>
          </p:txBody>
        </p:sp>
        <p:sp>
          <p:nvSpPr>
            <p:cNvPr id="138" name="Rectangle 25"/>
            <p:cNvSpPr/>
            <p:nvPr/>
          </p:nvSpPr>
          <p:spPr>
            <a:xfrm>
              <a:off x="3345391" y="3241925"/>
              <a:ext cx="547446" cy="792000"/>
            </a:xfrm>
            <a:prstGeom prst="rect">
              <a:avLst/>
            </a:prstGeom>
            <a:solidFill>
              <a:srgbClr val="A1C46B"/>
            </a:solidFill>
            <a:ln w="25400" cap="flat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defTabSz="1107201">
                <a:defRPr/>
              </a:pPr>
              <a:endParaRPr lang="en-GB" sz="1400" b="1" kern="0" dirty="0">
                <a:solidFill>
                  <a:srgbClr val="FFFFFF"/>
                </a:solidFill>
                <a:ea typeface="黑体"/>
              </a:endParaRPr>
            </a:p>
          </p:txBody>
        </p:sp>
        <p:cxnSp>
          <p:nvCxnSpPr>
            <p:cNvPr id="139" name="Elbow Connector 20"/>
            <p:cNvCxnSpPr/>
            <p:nvPr/>
          </p:nvCxnSpPr>
          <p:spPr>
            <a:xfrm>
              <a:off x="3801299" y="1903872"/>
              <a:ext cx="15381" cy="828000"/>
            </a:xfrm>
            <a:prstGeom prst="bentConnector3">
              <a:avLst>
                <a:gd name="adj1" fmla="val 1425000"/>
              </a:avLst>
            </a:prstGeom>
            <a:noFill/>
            <a:ln w="38100" cap="flat" cmpd="sng" algn="ctr">
              <a:solidFill>
                <a:srgbClr val="281051"/>
              </a:solidFill>
              <a:prstDash val="solid"/>
              <a:headEnd type="oval" w="med" len="med"/>
              <a:tailEnd type="triangle" w="med" len="med"/>
            </a:ln>
            <a:effectLst/>
          </p:spPr>
        </p:cxnSp>
        <p:cxnSp>
          <p:nvCxnSpPr>
            <p:cNvPr id="140" name="Elbow Connector 76"/>
            <p:cNvCxnSpPr/>
            <p:nvPr/>
          </p:nvCxnSpPr>
          <p:spPr>
            <a:xfrm>
              <a:off x="3801299" y="2824608"/>
              <a:ext cx="15381" cy="792000"/>
            </a:xfrm>
            <a:prstGeom prst="bentConnector3">
              <a:avLst>
                <a:gd name="adj1" fmla="val 1425000"/>
              </a:avLst>
            </a:prstGeom>
            <a:noFill/>
            <a:ln w="38100" cap="flat" cmpd="sng" algn="ctr">
              <a:solidFill>
                <a:srgbClr val="281051"/>
              </a:solidFill>
              <a:prstDash val="solid"/>
              <a:headEnd type="oval" w="med" len="med"/>
              <a:tailEnd type="triangle" w="med" len="med"/>
            </a:ln>
            <a:effectLst/>
          </p:spPr>
        </p:cxnSp>
        <p:cxnSp>
          <p:nvCxnSpPr>
            <p:cNvPr id="142" name="Elbow Connector 76"/>
            <p:cNvCxnSpPr/>
            <p:nvPr/>
          </p:nvCxnSpPr>
          <p:spPr>
            <a:xfrm>
              <a:off x="3801299" y="3713608"/>
              <a:ext cx="15381" cy="684000"/>
            </a:xfrm>
            <a:prstGeom prst="bentConnector3">
              <a:avLst>
                <a:gd name="adj1" fmla="val 1425000"/>
              </a:avLst>
            </a:prstGeom>
            <a:noFill/>
            <a:ln w="38100" cap="flat" cmpd="sng" algn="ctr">
              <a:solidFill>
                <a:srgbClr val="281051"/>
              </a:solidFill>
              <a:prstDash val="solid"/>
              <a:headEnd type="oval" w="med" len="med"/>
              <a:tailEnd type="triangle" w="med" len="med"/>
            </a:ln>
            <a:effectLst/>
          </p:spPr>
        </p:cxnSp>
        <p:sp>
          <p:nvSpPr>
            <p:cNvPr id="143" name="Oval 21"/>
            <p:cNvSpPr/>
            <p:nvPr/>
          </p:nvSpPr>
          <p:spPr>
            <a:xfrm>
              <a:off x="3723738" y="2112025"/>
              <a:ext cx="436000" cy="324000"/>
            </a:xfrm>
            <a:prstGeom prst="ellipse">
              <a:avLst/>
            </a:prstGeom>
            <a:solidFill>
              <a:srgbClr val="281051"/>
            </a:solidFill>
            <a:ln w="25400" cap="flat" cmpd="sng" algn="ctr">
              <a:solidFill>
                <a:srgbClr val="FFFFFF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rtlCol="0" anchor="ctr"/>
            <a:lstStyle/>
            <a:p>
              <a:pPr algn="ctr" defTabSz="1107201">
                <a:defRPr/>
              </a:pPr>
              <a:endParaRPr lang="en-GB" sz="1454" b="1" kern="0" dirty="0">
                <a:solidFill>
                  <a:srgbClr val="FFFFFF"/>
                </a:solidFill>
                <a:ea typeface="黑体"/>
              </a:endParaRPr>
            </a:p>
          </p:txBody>
        </p:sp>
        <p:sp>
          <p:nvSpPr>
            <p:cNvPr id="144" name="Oval 77"/>
            <p:cNvSpPr/>
            <p:nvPr/>
          </p:nvSpPr>
          <p:spPr>
            <a:xfrm>
              <a:off x="3723738" y="3040501"/>
              <a:ext cx="436000" cy="324000"/>
            </a:xfrm>
            <a:prstGeom prst="ellipse">
              <a:avLst/>
            </a:prstGeom>
            <a:solidFill>
              <a:srgbClr val="281051"/>
            </a:solidFill>
            <a:ln w="25400" cap="flat" cmpd="sng" algn="ctr">
              <a:solidFill>
                <a:srgbClr val="FFFFFF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rtlCol="0" anchor="ctr"/>
            <a:lstStyle/>
            <a:p>
              <a:pPr algn="ctr" defTabSz="1107201">
                <a:defRPr/>
              </a:pPr>
              <a:endParaRPr lang="en-GB" sz="1454" b="1" kern="0" dirty="0">
                <a:solidFill>
                  <a:srgbClr val="FFFFFF"/>
                </a:solidFill>
                <a:ea typeface="黑体"/>
              </a:endParaRPr>
            </a:p>
          </p:txBody>
        </p:sp>
      </p:grpSp>
      <p:grpSp>
        <p:nvGrpSpPr>
          <p:cNvPr id="146" name="组合 145"/>
          <p:cNvGrpSpPr/>
          <p:nvPr/>
        </p:nvGrpSpPr>
        <p:grpSpPr>
          <a:xfrm>
            <a:off x="8158601" y="2628704"/>
            <a:ext cx="824457" cy="3358779"/>
            <a:chOff x="3345390" y="1471687"/>
            <a:chExt cx="824671" cy="3359653"/>
          </a:xfrm>
        </p:grpSpPr>
        <p:sp>
          <p:nvSpPr>
            <p:cNvPr id="147" name="矩形 146"/>
            <p:cNvSpPr/>
            <p:nvPr/>
          </p:nvSpPr>
          <p:spPr>
            <a:xfrm>
              <a:off x="3345390" y="4111340"/>
              <a:ext cx="547447" cy="720000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70">
                <a:defRPr/>
              </a:pPr>
              <a:endParaRPr lang="zh-CN" altLang="en-US" sz="1400" b="1" kern="0" dirty="0">
                <a:solidFill>
                  <a:srgbClr val="FFFFFF"/>
                </a:solidFill>
                <a:latin typeface="Calibri" panose="020F0502020204030204" pitchFamily="34" charset="0"/>
                <a:ea typeface="黑体"/>
              </a:endParaRPr>
            </a:p>
          </p:txBody>
        </p:sp>
        <p:sp>
          <p:nvSpPr>
            <p:cNvPr id="148" name="Rectangle 16"/>
            <p:cNvSpPr/>
            <p:nvPr/>
          </p:nvSpPr>
          <p:spPr>
            <a:xfrm>
              <a:off x="3345391" y="1471687"/>
              <a:ext cx="547446" cy="795988"/>
            </a:xfrm>
            <a:prstGeom prst="rect">
              <a:avLst/>
            </a:prstGeom>
            <a:solidFill>
              <a:srgbClr val="1F497D"/>
            </a:solidFill>
            <a:ln w="25400" cap="flat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defTabSz="1107201">
                <a:defRPr/>
              </a:pPr>
              <a:endParaRPr lang="en-GB" sz="1400" b="1" kern="0" dirty="0">
                <a:solidFill>
                  <a:srgbClr val="FFFFFF"/>
                </a:solidFill>
                <a:ea typeface="黑体"/>
              </a:endParaRPr>
            </a:p>
          </p:txBody>
        </p:sp>
        <p:sp>
          <p:nvSpPr>
            <p:cNvPr id="149" name="Rectangle 24"/>
            <p:cNvSpPr/>
            <p:nvPr/>
          </p:nvSpPr>
          <p:spPr>
            <a:xfrm>
              <a:off x="3345391" y="2352858"/>
              <a:ext cx="547446" cy="792000"/>
            </a:xfrm>
            <a:prstGeom prst="rect">
              <a:avLst/>
            </a:prstGeom>
            <a:solidFill>
              <a:srgbClr val="C00000"/>
            </a:solidFill>
            <a:ln w="25400" cap="flat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defTabSz="1107201">
                <a:defRPr/>
              </a:pPr>
              <a:endParaRPr lang="en-GB" sz="1400" b="1" kern="0" dirty="0">
                <a:solidFill>
                  <a:srgbClr val="FFFFFF"/>
                </a:solidFill>
                <a:ea typeface="黑体"/>
              </a:endParaRPr>
            </a:p>
          </p:txBody>
        </p:sp>
        <p:sp>
          <p:nvSpPr>
            <p:cNvPr id="150" name="Rectangle 25"/>
            <p:cNvSpPr/>
            <p:nvPr/>
          </p:nvSpPr>
          <p:spPr>
            <a:xfrm>
              <a:off x="3345391" y="3241925"/>
              <a:ext cx="547446" cy="792000"/>
            </a:xfrm>
            <a:prstGeom prst="rect">
              <a:avLst/>
            </a:prstGeom>
            <a:solidFill>
              <a:srgbClr val="A1C46B"/>
            </a:solidFill>
            <a:ln w="25400" cap="flat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defTabSz="1107201">
                <a:defRPr/>
              </a:pPr>
              <a:endParaRPr lang="en-GB" sz="1400" b="1" kern="0" dirty="0">
                <a:solidFill>
                  <a:srgbClr val="FFFFFF"/>
                </a:solidFill>
                <a:ea typeface="黑体"/>
              </a:endParaRPr>
            </a:p>
          </p:txBody>
        </p:sp>
        <p:cxnSp>
          <p:nvCxnSpPr>
            <p:cNvPr id="151" name="Elbow Connector 20"/>
            <p:cNvCxnSpPr/>
            <p:nvPr/>
          </p:nvCxnSpPr>
          <p:spPr>
            <a:xfrm>
              <a:off x="3801299" y="1903872"/>
              <a:ext cx="15381" cy="828000"/>
            </a:xfrm>
            <a:prstGeom prst="bentConnector3">
              <a:avLst>
                <a:gd name="adj1" fmla="val 1425000"/>
              </a:avLst>
            </a:prstGeom>
            <a:noFill/>
            <a:ln w="38100" cap="flat" cmpd="sng" algn="ctr">
              <a:solidFill>
                <a:srgbClr val="281051"/>
              </a:solidFill>
              <a:prstDash val="solid"/>
              <a:headEnd type="oval" w="med" len="med"/>
              <a:tailEnd type="triangle" w="med" len="med"/>
            </a:ln>
            <a:effectLst/>
          </p:spPr>
        </p:cxnSp>
        <p:cxnSp>
          <p:nvCxnSpPr>
            <p:cNvPr id="152" name="Elbow Connector 76"/>
            <p:cNvCxnSpPr/>
            <p:nvPr/>
          </p:nvCxnSpPr>
          <p:spPr>
            <a:xfrm>
              <a:off x="3801299" y="2824608"/>
              <a:ext cx="15381" cy="792000"/>
            </a:xfrm>
            <a:prstGeom prst="bentConnector3">
              <a:avLst>
                <a:gd name="adj1" fmla="val 1425000"/>
              </a:avLst>
            </a:prstGeom>
            <a:noFill/>
            <a:ln w="38100" cap="flat" cmpd="sng" algn="ctr">
              <a:solidFill>
                <a:srgbClr val="281051"/>
              </a:solidFill>
              <a:prstDash val="solid"/>
              <a:headEnd type="oval" w="med" len="med"/>
              <a:tailEnd type="triangle" w="med" len="med"/>
            </a:ln>
            <a:effectLst/>
          </p:spPr>
        </p:cxnSp>
        <p:cxnSp>
          <p:nvCxnSpPr>
            <p:cNvPr id="154" name="Elbow Connector 76"/>
            <p:cNvCxnSpPr/>
            <p:nvPr/>
          </p:nvCxnSpPr>
          <p:spPr>
            <a:xfrm>
              <a:off x="3801299" y="3713608"/>
              <a:ext cx="15381" cy="684000"/>
            </a:xfrm>
            <a:prstGeom prst="bentConnector3">
              <a:avLst>
                <a:gd name="adj1" fmla="val 1425000"/>
              </a:avLst>
            </a:prstGeom>
            <a:noFill/>
            <a:ln w="38100" cap="flat" cmpd="sng" algn="ctr">
              <a:solidFill>
                <a:srgbClr val="281051"/>
              </a:solidFill>
              <a:prstDash val="solid"/>
              <a:headEnd type="oval" w="med" len="med"/>
              <a:tailEnd type="triangle" w="med" len="med"/>
            </a:ln>
            <a:effectLst/>
          </p:spPr>
        </p:cxnSp>
        <p:sp>
          <p:nvSpPr>
            <p:cNvPr id="155" name="Oval 21"/>
            <p:cNvSpPr/>
            <p:nvPr/>
          </p:nvSpPr>
          <p:spPr>
            <a:xfrm>
              <a:off x="3723738" y="2112025"/>
              <a:ext cx="436000" cy="324000"/>
            </a:xfrm>
            <a:prstGeom prst="ellipse">
              <a:avLst/>
            </a:prstGeom>
            <a:solidFill>
              <a:srgbClr val="FF0000"/>
            </a:solidFill>
            <a:ln w="25400" cap="flat" cmpd="sng" algn="ctr">
              <a:solidFill>
                <a:srgbClr val="FFFFFF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rtlCol="0" anchor="ctr"/>
            <a:lstStyle/>
            <a:p>
              <a:pPr algn="ctr" defTabSz="1107201">
                <a:defRPr/>
              </a:pPr>
              <a:endParaRPr lang="en-GB" sz="1454" b="1" kern="0" dirty="0">
                <a:solidFill>
                  <a:srgbClr val="FFFFFF"/>
                </a:solidFill>
                <a:ea typeface="黑体"/>
              </a:endParaRPr>
            </a:p>
          </p:txBody>
        </p:sp>
        <p:sp>
          <p:nvSpPr>
            <p:cNvPr id="156" name="Oval 77"/>
            <p:cNvSpPr/>
            <p:nvPr/>
          </p:nvSpPr>
          <p:spPr>
            <a:xfrm>
              <a:off x="3723738" y="3040501"/>
              <a:ext cx="436000" cy="324000"/>
            </a:xfrm>
            <a:prstGeom prst="ellipse">
              <a:avLst/>
            </a:prstGeom>
            <a:solidFill>
              <a:srgbClr val="281051"/>
            </a:solidFill>
            <a:ln w="25400" cap="flat" cmpd="sng" algn="ctr">
              <a:solidFill>
                <a:srgbClr val="FFFFFF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rtlCol="0" anchor="ctr"/>
            <a:lstStyle/>
            <a:p>
              <a:pPr algn="ctr" defTabSz="1107201">
                <a:defRPr/>
              </a:pPr>
              <a:endParaRPr lang="en-GB" sz="1454" b="1" kern="0" dirty="0">
                <a:solidFill>
                  <a:srgbClr val="FFFFFF"/>
                </a:solidFill>
                <a:ea typeface="黑体"/>
              </a:endParaRPr>
            </a:p>
          </p:txBody>
        </p:sp>
        <p:sp>
          <p:nvSpPr>
            <p:cNvPr id="157" name="Oval 77"/>
            <p:cNvSpPr/>
            <p:nvPr/>
          </p:nvSpPr>
          <p:spPr>
            <a:xfrm>
              <a:off x="3734061" y="3869618"/>
              <a:ext cx="436000" cy="324000"/>
            </a:xfrm>
            <a:prstGeom prst="ellipse">
              <a:avLst/>
            </a:prstGeom>
            <a:solidFill>
              <a:srgbClr val="281051"/>
            </a:solidFill>
            <a:ln w="25400" cap="flat" cmpd="sng" algn="ctr">
              <a:solidFill>
                <a:srgbClr val="FFFFFF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rtlCol="0" anchor="ctr"/>
            <a:lstStyle/>
            <a:p>
              <a:pPr algn="ctr" defTabSz="1107201">
                <a:defRPr/>
              </a:pPr>
              <a:endParaRPr lang="en-GB" sz="1454" b="1" kern="0" dirty="0">
                <a:solidFill>
                  <a:srgbClr val="FFFFFF"/>
                </a:solidFill>
                <a:ea typeface="黑体"/>
              </a:endParaRPr>
            </a:p>
          </p:txBody>
        </p:sp>
      </p:grpSp>
      <p:sp>
        <p:nvSpPr>
          <p:cNvPr id="168" name="Oval 77"/>
          <p:cNvSpPr/>
          <p:nvPr/>
        </p:nvSpPr>
        <p:spPr>
          <a:xfrm>
            <a:off x="7608345" y="5036585"/>
            <a:ext cx="435886" cy="323916"/>
          </a:xfrm>
          <a:prstGeom prst="ellipse">
            <a:avLst/>
          </a:prstGeom>
          <a:solidFill>
            <a:srgbClr val="281051"/>
          </a:solidFill>
          <a:ln w="25400" cap="flat" cmpd="sng" algn="ctr">
            <a:solidFill>
              <a:srgbClr val="FFFFFF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defTabSz="1107201">
              <a:defRPr/>
            </a:pPr>
            <a:endParaRPr lang="en-GB" sz="1454" b="1" kern="0" dirty="0">
              <a:solidFill>
                <a:srgbClr val="FFFFFF"/>
              </a:solidFill>
              <a:ea typeface="黑体"/>
            </a:endParaRPr>
          </a:p>
        </p:txBody>
      </p:sp>
      <p:sp>
        <p:nvSpPr>
          <p:cNvPr id="184" name="Oval 21"/>
          <p:cNvSpPr/>
          <p:nvPr/>
        </p:nvSpPr>
        <p:spPr>
          <a:xfrm>
            <a:off x="6688609" y="4199326"/>
            <a:ext cx="435886" cy="323916"/>
          </a:xfrm>
          <a:prstGeom prst="ellipse">
            <a:avLst/>
          </a:prstGeom>
          <a:solidFill>
            <a:srgbClr val="FF0000"/>
          </a:solidFill>
          <a:ln w="25400" cap="flat" cmpd="sng" algn="ctr">
            <a:solidFill>
              <a:srgbClr val="FFFFFF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defTabSz="1107201">
              <a:defRPr/>
            </a:pPr>
            <a:endParaRPr lang="en-GB" sz="1454" b="1" kern="0" dirty="0">
              <a:solidFill>
                <a:srgbClr val="FFFFFF"/>
              </a:solidFill>
              <a:ea typeface="黑体"/>
            </a:endParaRPr>
          </a:p>
        </p:txBody>
      </p:sp>
      <p:sp>
        <p:nvSpPr>
          <p:cNvPr id="188" name="Oval 21"/>
          <p:cNvSpPr/>
          <p:nvPr/>
        </p:nvSpPr>
        <p:spPr>
          <a:xfrm>
            <a:off x="6706896" y="5056382"/>
            <a:ext cx="435886" cy="323916"/>
          </a:xfrm>
          <a:prstGeom prst="ellipse">
            <a:avLst/>
          </a:prstGeom>
          <a:solidFill>
            <a:srgbClr val="FF0000"/>
          </a:solidFill>
          <a:ln w="25400" cap="flat" cmpd="sng" algn="ctr">
            <a:solidFill>
              <a:srgbClr val="FFFFFF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defTabSz="1107201">
              <a:defRPr/>
            </a:pPr>
            <a:endParaRPr lang="en-GB" sz="1454" b="1" kern="0" dirty="0">
              <a:solidFill>
                <a:srgbClr val="FFFFFF"/>
              </a:solidFill>
              <a:ea typeface="黑体"/>
            </a:endParaRPr>
          </a:p>
        </p:txBody>
      </p:sp>
      <p:sp>
        <p:nvSpPr>
          <p:cNvPr id="163" name="文本框 162"/>
          <p:cNvSpPr txBox="1"/>
          <p:nvPr/>
        </p:nvSpPr>
        <p:spPr>
          <a:xfrm>
            <a:off x="539949" y="976138"/>
            <a:ext cx="1943963" cy="520926"/>
          </a:xfrm>
          <a:prstGeom prst="round2DiagRect">
            <a:avLst/>
          </a:prstGeom>
          <a:solidFill>
            <a:srgbClr val="1B365D">
              <a:lumMod val="60000"/>
              <a:lumOff val="40000"/>
            </a:srgbClr>
          </a:solidFill>
          <a:ln w="38100" cap="flat" cmpd="sng" algn="ctr">
            <a:solidFill>
              <a:srgbClr val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0" tIns="0" rIns="0" bIns="0" rtlCol="0">
            <a:spAutoFit/>
          </a:bodyPr>
          <a:lstStyle/>
          <a:p>
            <a:pPr marL="4763" algn="ctr">
              <a:defRPr/>
            </a:pPr>
            <a:r>
              <a:rPr lang="en-US" altLang="zh-CN" b="1" kern="0" dirty="0">
                <a:solidFill>
                  <a:prstClr val="white"/>
                </a:solidFill>
                <a:latin typeface="Calibri" pitchFamily="34" charset="0"/>
              </a:rPr>
              <a:t>Brand Funnel</a:t>
            </a:r>
          </a:p>
          <a:p>
            <a:pPr marL="4763" algn="ctr">
              <a:defRPr/>
            </a:pPr>
            <a:r>
              <a:rPr lang="en-US" altLang="zh-CN" sz="1600" b="1" kern="0" dirty="0">
                <a:solidFill>
                  <a:prstClr val="white"/>
                </a:solidFill>
              </a:rPr>
              <a:t>(Guangzhou)</a:t>
            </a:r>
            <a:endParaRPr lang="zh-CN" altLang="en-US" sz="1600" b="1" kern="0" dirty="0">
              <a:solidFill>
                <a:prstClr val="white"/>
              </a:solidFill>
            </a:endParaRPr>
          </a:p>
        </p:txBody>
      </p:sp>
      <p:grpSp>
        <p:nvGrpSpPr>
          <p:cNvPr id="38" name="组合 37"/>
          <p:cNvGrpSpPr/>
          <p:nvPr/>
        </p:nvGrpSpPr>
        <p:grpSpPr>
          <a:xfrm>
            <a:off x="6557682" y="6137891"/>
            <a:ext cx="4851608" cy="290893"/>
            <a:chOff x="6498919" y="6343651"/>
            <a:chExt cx="4852872" cy="290968"/>
          </a:xfrm>
        </p:grpSpPr>
        <p:grpSp>
          <p:nvGrpSpPr>
            <p:cNvPr id="197" name="组合 196"/>
            <p:cNvGrpSpPr/>
            <p:nvPr/>
          </p:nvGrpSpPr>
          <p:grpSpPr>
            <a:xfrm>
              <a:off x="8925195" y="6362409"/>
              <a:ext cx="2426596" cy="270092"/>
              <a:chOff x="4933516" y="6327458"/>
              <a:chExt cx="2308532" cy="270092"/>
            </a:xfrm>
          </p:grpSpPr>
          <p:sp>
            <p:nvSpPr>
              <p:cNvPr id="198" name="TextBox 134"/>
              <p:cNvSpPr txBox="1"/>
              <p:nvPr/>
            </p:nvSpPr>
            <p:spPr>
              <a:xfrm>
                <a:off x="5406276" y="6351297"/>
                <a:ext cx="1835772" cy="246253"/>
              </a:xfrm>
              <a:prstGeom prst="rect">
                <a:avLst/>
              </a:prstGeom>
              <a:solidFill>
                <a:srgbClr val="FFFFFF"/>
              </a:solidFill>
            </p:spPr>
            <p:txBody>
              <a:bodyPr wrap="square" rtlCol="0" anchor="ctr">
                <a:spAutoFit/>
              </a:bodyPr>
              <a:lstStyle/>
              <a:p>
                <a:pPr algn="ctr" defTabSz="1107259">
                  <a:lnSpc>
                    <a:spcPts val="1200"/>
                  </a:lnSpc>
                  <a:defRPr/>
                </a:pPr>
                <a:r>
                  <a:rPr lang="nl-BE" altLang="zh-CN" sz="1400" b="1" kern="0" dirty="0">
                    <a:solidFill>
                      <a:srgbClr val="FF0000"/>
                    </a:solidFill>
                    <a:ea typeface="黑体"/>
                  </a:rPr>
                  <a:t>Bottom 2</a:t>
                </a:r>
                <a:r>
                  <a:rPr lang="en-US" altLang="zh-CN" sz="1400" b="1" kern="0" dirty="0">
                    <a:solidFill>
                      <a:srgbClr val="FF0000"/>
                    </a:solidFill>
                    <a:ea typeface="黑体"/>
                  </a:rPr>
                  <a:t> performance</a:t>
                </a:r>
                <a:endParaRPr lang="en-GB" sz="1400" b="1" kern="0" dirty="0">
                  <a:solidFill>
                    <a:srgbClr val="FF0000"/>
                  </a:solidFill>
                  <a:ea typeface="黑体"/>
                </a:endParaRPr>
              </a:p>
            </p:txBody>
          </p:sp>
          <p:sp>
            <p:nvSpPr>
              <p:cNvPr id="199" name="Oval 60"/>
              <p:cNvSpPr/>
              <p:nvPr/>
            </p:nvSpPr>
            <p:spPr>
              <a:xfrm>
                <a:off x="4933516" y="6327458"/>
                <a:ext cx="514456" cy="252000"/>
              </a:xfrm>
              <a:prstGeom prst="ellipse">
                <a:avLst/>
              </a:prstGeom>
              <a:solidFill>
                <a:srgbClr val="FF0000"/>
              </a:solidFill>
              <a:ln w="25400" cap="flat" cmpd="sng" algn="ctr">
                <a:solidFill>
                  <a:srgbClr val="FFFFFF"/>
                </a:solidFill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none" rtlCol="0" anchor="ctr"/>
              <a:lstStyle/>
              <a:p>
                <a:pPr algn="ctr" defTabSz="1107259">
                  <a:defRPr/>
                </a:pPr>
                <a:r>
                  <a:rPr lang="nl-BE" sz="1050" b="1" kern="0" dirty="0">
                    <a:solidFill>
                      <a:srgbClr val="FFFFFF"/>
                    </a:solidFill>
                    <a:ea typeface="黑体"/>
                  </a:rPr>
                  <a:t>XX</a:t>
                </a:r>
                <a:endParaRPr lang="en-GB" sz="1050" b="1" kern="0" dirty="0">
                  <a:solidFill>
                    <a:srgbClr val="FFFFFF"/>
                  </a:solidFill>
                  <a:ea typeface="黑体"/>
                </a:endParaRPr>
              </a:p>
            </p:txBody>
          </p:sp>
        </p:grpSp>
        <p:grpSp>
          <p:nvGrpSpPr>
            <p:cNvPr id="200" name="组合 199"/>
            <p:cNvGrpSpPr/>
            <p:nvPr/>
          </p:nvGrpSpPr>
          <p:grpSpPr>
            <a:xfrm>
              <a:off x="6498919" y="6343651"/>
              <a:ext cx="2368595" cy="290968"/>
              <a:chOff x="5552434" y="6557833"/>
              <a:chExt cx="2451274" cy="290968"/>
            </a:xfrm>
          </p:grpSpPr>
          <p:sp>
            <p:nvSpPr>
              <p:cNvPr id="201" name="TextBox 134"/>
              <p:cNvSpPr txBox="1"/>
              <p:nvPr/>
            </p:nvSpPr>
            <p:spPr>
              <a:xfrm>
                <a:off x="5765565" y="6593667"/>
                <a:ext cx="2238143" cy="255134"/>
              </a:xfrm>
              <a:prstGeom prst="rect">
                <a:avLst/>
              </a:prstGeom>
              <a:solidFill>
                <a:srgbClr val="FFFFFF"/>
              </a:solidFill>
            </p:spPr>
            <p:txBody>
              <a:bodyPr wrap="square" rtlCol="0" anchor="ctr">
                <a:spAutoFit/>
              </a:bodyPr>
              <a:lstStyle/>
              <a:p>
                <a:pPr algn="ctr" defTabSz="1107259">
                  <a:lnSpc>
                    <a:spcPts val="1200"/>
                  </a:lnSpc>
                  <a:defRPr/>
                </a:pPr>
                <a:r>
                  <a:rPr lang="nl-BE" altLang="zh-CN" sz="1400" b="1" kern="0" dirty="0">
                    <a:solidFill>
                      <a:srgbClr val="00B050"/>
                    </a:solidFill>
                    <a:ea typeface="黑体"/>
                  </a:rPr>
                  <a:t>Top 2 </a:t>
                </a:r>
                <a:r>
                  <a:rPr lang="en-US" altLang="zh-CN" sz="1400" b="1" kern="0" dirty="0">
                    <a:solidFill>
                      <a:srgbClr val="00B050"/>
                    </a:solidFill>
                    <a:ea typeface="黑体"/>
                  </a:rPr>
                  <a:t>performance</a:t>
                </a:r>
                <a:endParaRPr lang="en-GB" sz="1400" b="1" kern="0" dirty="0">
                  <a:solidFill>
                    <a:srgbClr val="00B050"/>
                  </a:solidFill>
                  <a:ea typeface="黑体"/>
                </a:endParaRPr>
              </a:p>
            </p:txBody>
          </p:sp>
          <p:sp>
            <p:nvSpPr>
              <p:cNvPr id="202" name="Oval 60"/>
              <p:cNvSpPr/>
              <p:nvPr/>
            </p:nvSpPr>
            <p:spPr>
              <a:xfrm>
                <a:off x="5552434" y="6557833"/>
                <a:ext cx="514456" cy="252000"/>
              </a:xfrm>
              <a:prstGeom prst="ellipse">
                <a:avLst/>
              </a:prstGeom>
              <a:solidFill>
                <a:srgbClr val="00B050"/>
              </a:solidFill>
              <a:ln w="25400" cap="flat" cmpd="sng" algn="ctr">
                <a:solidFill>
                  <a:srgbClr val="FFFFFF"/>
                </a:solidFill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none" rtlCol="0" anchor="ctr"/>
              <a:lstStyle/>
              <a:p>
                <a:pPr algn="ctr" defTabSz="1107259">
                  <a:defRPr/>
                </a:pPr>
                <a:r>
                  <a:rPr lang="nl-BE" sz="1050" b="1" kern="0" dirty="0">
                    <a:solidFill>
                      <a:srgbClr val="FFFFFF"/>
                    </a:solidFill>
                    <a:ea typeface="黑体"/>
                  </a:rPr>
                  <a:t>XX</a:t>
                </a:r>
                <a:endParaRPr lang="en-GB" sz="1050" b="1" kern="0" dirty="0">
                  <a:solidFill>
                    <a:srgbClr val="FFFFFF"/>
                  </a:solidFill>
                  <a:ea typeface="黑体"/>
                </a:endParaRPr>
              </a:p>
            </p:txBody>
          </p:sp>
        </p:grpSp>
      </p:grpSp>
      <p:sp>
        <p:nvSpPr>
          <p:cNvPr id="178" name="文本占位符 2"/>
          <p:cNvSpPr txBox="1">
            <a:spLocks/>
          </p:cNvSpPr>
          <p:nvPr/>
        </p:nvSpPr>
        <p:spPr>
          <a:xfrm>
            <a:off x="101972" y="6593553"/>
            <a:ext cx="7721201" cy="295422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 algn="l" defTabSz="1232168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2133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" indent="0" algn="l" defTabSz="1232168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defRPr sz="1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9027" indent="-249027" algn="l" defTabSz="1232168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5783" indent="-254786" algn="l" defTabSz="1232168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–"/>
              <a:defRPr sz="1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8976" indent="-234632" algn="l" defTabSz="1232168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85000"/>
              <a:buFont typeface="Arial" panose="020B0604020202020204" pitchFamily="34" charset="0"/>
              <a:buChar char="•"/>
              <a:defRPr sz="1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88463" indent="-308042" algn="l" defTabSz="123216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004547" indent="-308042" algn="l" defTabSz="123216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620630" indent="-308042" algn="l" defTabSz="123216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36716" indent="-308042" algn="l" defTabSz="123216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31922">
              <a:defRPr/>
            </a:pPr>
            <a:r>
              <a:rPr lang="en-US" altLang="zh-CN" sz="1100" dirty="0">
                <a:solidFill>
                  <a:prstClr val="black"/>
                </a:solidFill>
                <a:latin typeface="Calibri" panose="020F0502020204030204" pitchFamily="34" charset="0"/>
                <a:ea typeface="等线" panose="02010600030101010101" pitchFamily="2" charset="-122"/>
              </a:rPr>
              <a:t>Base: Respondents in Guangzhou, n=200	* New test brand since wave 3	</a:t>
            </a:r>
            <a:endParaRPr lang="zh-CN" altLang="en-US" sz="1100" dirty="0">
              <a:solidFill>
                <a:prstClr val="black"/>
              </a:solidFill>
              <a:latin typeface="Calibri" panose="020F0502020204030204" pitchFamily="34" charset="0"/>
              <a:ea typeface="等线" panose="02010600030101010101" pitchFamily="2" charset="-122"/>
            </a:endParaRPr>
          </a:p>
        </p:txBody>
      </p:sp>
      <p:pic>
        <p:nvPicPr>
          <p:cNvPr id="159" name="图片 158">
            <a:extLst>
              <a:ext uri="{FF2B5EF4-FFF2-40B4-BE49-F238E27FC236}">
                <a16:creationId xmlns:a16="http://schemas.microsoft.com/office/drawing/2014/main" id="{628FEA7C-9CAC-4BD0-B9C2-59ED0ED6F8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43552" y="2638398"/>
            <a:ext cx="1700710" cy="3437994"/>
          </a:xfrm>
          <a:prstGeom prst="rect">
            <a:avLst/>
          </a:prstGeom>
        </p:spPr>
      </p:pic>
      <p:grpSp>
        <p:nvGrpSpPr>
          <p:cNvPr id="7" name="组合 6">
            <a:extLst>
              <a:ext uri="{FF2B5EF4-FFF2-40B4-BE49-F238E27FC236}">
                <a16:creationId xmlns:a16="http://schemas.microsoft.com/office/drawing/2014/main" id="{4808F205-91A6-49F0-8679-5C3F40D82E72}"/>
              </a:ext>
            </a:extLst>
          </p:cNvPr>
          <p:cNvGrpSpPr/>
          <p:nvPr/>
        </p:nvGrpSpPr>
        <p:grpSpPr>
          <a:xfrm>
            <a:off x="4415160" y="882562"/>
            <a:ext cx="4563249" cy="559882"/>
            <a:chOff x="7017757" y="691389"/>
            <a:chExt cx="4563844" cy="559955"/>
          </a:xfrm>
        </p:grpSpPr>
        <p:grpSp>
          <p:nvGrpSpPr>
            <p:cNvPr id="18" name="组合 17"/>
            <p:cNvGrpSpPr/>
            <p:nvPr/>
          </p:nvGrpSpPr>
          <p:grpSpPr>
            <a:xfrm>
              <a:off x="7017757" y="749988"/>
              <a:ext cx="3555386" cy="501356"/>
              <a:chOff x="6930611" y="1326513"/>
              <a:chExt cx="3555849" cy="501421"/>
            </a:xfrm>
          </p:grpSpPr>
          <p:pic>
            <p:nvPicPr>
              <p:cNvPr id="170" name="图片 169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738562" y="1352138"/>
                <a:ext cx="747898" cy="441834"/>
              </a:xfrm>
              <a:prstGeom prst="rect">
                <a:avLst/>
              </a:prstGeom>
            </p:spPr>
          </p:pic>
          <p:pic>
            <p:nvPicPr>
              <p:cNvPr id="174" name="图片 173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930611" y="1394968"/>
                <a:ext cx="691624" cy="374682"/>
              </a:xfrm>
              <a:prstGeom prst="rect">
                <a:avLst/>
              </a:prstGeom>
            </p:spPr>
          </p:pic>
          <p:pic>
            <p:nvPicPr>
              <p:cNvPr id="179" name="图片 178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632613" y="1349044"/>
                <a:ext cx="963438" cy="478890"/>
              </a:xfrm>
              <a:prstGeom prst="rect">
                <a:avLst/>
              </a:prstGeom>
            </p:spPr>
          </p:pic>
          <p:pic>
            <p:nvPicPr>
              <p:cNvPr id="180" name="图片 179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716598" y="1326513"/>
                <a:ext cx="964043" cy="436996"/>
              </a:xfrm>
              <a:prstGeom prst="rect">
                <a:avLst/>
              </a:prstGeom>
            </p:spPr>
          </p:pic>
        </p:grpSp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E2CC55BC-EDD6-4EDC-8072-9FCDEFD0AC2F}"/>
                </a:ext>
              </a:extLst>
            </p:cNvPr>
            <p:cNvGrpSpPr/>
            <p:nvPr/>
          </p:nvGrpSpPr>
          <p:grpSpPr>
            <a:xfrm>
              <a:off x="10769693" y="691389"/>
              <a:ext cx="811908" cy="481304"/>
              <a:chOff x="10748215" y="1834242"/>
              <a:chExt cx="811908" cy="481304"/>
            </a:xfrm>
          </p:grpSpPr>
          <p:pic>
            <p:nvPicPr>
              <p:cNvPr id="2" name="图片 1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0748215" y="1948795"/>
                <a:ext cx="584819" cy="366751"/>
              </a:xfrm>
              <a:prstGeom prst="rect">
                <a:avLst/>
              </a:prstGeom>
            </p:spPr>
          </p:pic>
          <p:sp>
            <p:nvSpPr>
              <p:cNvPr id="141" name="矩形 140"/>
              <p:cNvSpPr/>
              <p:nvPr/>
            </p:nvSpPr>
            <p:spPr>
              <a:xfrm>
                <a:off x="11272865" y="1834242"/>
                <a:ext cx="287258" cy="3139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zh-CN" sz="1600" kern="0" dirty="0">
                    <a:solidFill>
                      <a:sysClr val="windowText" lastClr="000000"/>
                    </a:solidFill>
                    <a:cs typeface="Calibri" panose="020F0502020204030204" pitchFamily="34" charset="0"/>
                  </a:rPr>
                  <a:t>*</a:t>
                </a:r>
                <a:endParaRPr lang="zh-CN" altLang="en-US" sz="1600" dirty="0"/>
              </a:p>
            </p:txBody>
          </p:sp>
        </p:grpSp>
      </p:grpSp>
      <p:graphicFrame>
        <p:nvGraphicFramePr>
          <p:cNvPr id="153" name="表格 152">
            <a:extLst>
              <a:ext uri="{FF2B5EF4-FFF2-40B4-BE49-F238E27FC236}">
                <a16:creationId xmlns:a16="http://schemas.microsoft.com/office/drawing/2014/main" id="{CA0F38FC-59C0-401B-BF17-39D10D7EC6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6904273"/>
              </p:ext>
            </p:extLst>
          </p:nvPr>
        </p:nvGraphicFramePr>
        <p:xfrm>
          <a:off x="2543553" y="1580077"/>
          <a:ext cx="6434856" cy="986225"/>
        </p:xfrm>
        <a:graphic>
          <a:graphicData uri="http://schemas.openxmlformats.org/drawingml/2006/table">
            <a:tbl>
              <a:tblPr/>
              <a:tblGrid>
                <a:gridCol w="1719090">
                  <a:extLst>
                    <a:ext uri="{9D8B030D-6E8A-4147-A177-3AD203B41FA5}">
                      <a16:colId xmlns:a16="http://schemas.microsoft.com/office/drawing/2014/main" val="629609104"/>
                    </a:ext>
                  </a:extLst>
                </a:gridCol>
                <a:gridCol w="9463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7844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1428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78441">
                  <a:extLst>
                    <a:ext uri="{9D8B030D-6E8A-4147-A177-3AD203B41FA5}">
                      <a16:colId xmlns:a16="http://schemas.microsoft.com/office/drawing/2014/main" val="2218129654"/>
                    </a:ext>
                  </a:extLst>
                </a:gridCol>
                <a:gridCol w="89824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531771">
                <a:tc>
                  <a:txBody>
                    <a:bodyPr/>
                    <a:lstStyle/>
                    <a:p>
                      <a:pPr marL="0" marR="0" lvl="0" indent="0" algn="ctr" defTabSz="123213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b="1" kern="0" dirty="0">
                          <a:solidFill>
                            <a:sysClr val="windowText" lastClr="000000"/>
                          </a:solidFill>
                          <a:ea typeface="等线" panose="02010600030101010101" pitchFamily="2" charset="-122"/>
                        </a:rPr>
                        <a:t>TOMA(Unaided)</a:t>
                      </a:r>
                    </a:p>
                  </a:txBody>
                  <a:tcPr marL="9523" marR="9523" marT="179977" marB="107986" anchor="ctr" anchorCtr="1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11%</a:t>
                      </a:r>
                    </a:p>
                  </a:txBody>
                  <a:tcPr marL="9523" marR="9523" marT="952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1%</a:t>
                      </a:r>
                    </a:p>
                  </a:txBody>
                  <a:tcPr marL="9523" marR="9523" marT="952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0%</a:t>
                      </a:r>
                    </a:p>
                  </a:txBody>
                  <a:tcPr marL="9523" marR="9523" marT="952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2%</a:t>
                      </a:r>
                    </a:p>
                  </a:txBody>
                  <a:tcPr marL="9523" marR="9523" marT="952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9%</a:t>
                      </a:r>
                    </a:p>
                  </a:txBody>
                  <a:tcPr marL="9523" marR="9523" marT="952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3535359"/>
                  </a:ext>
                </a:extLst>
              </a:tr>
              <a:tr h="454422">
                <a:tc>
                  <a:txBody>
                    <a:bodyPr/>
                    <a:lstStyle/>
                    <a:p>
                      <a:pPr algn="ctr" defTabSz="914261" fontAlgn="auto">
                        <a:lnSpc>
                          <a:spcPts val="14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en-US" altLang="zh-CN" sz="1600" b="1" kern="0" dirty="0">
                          <a:solidFill>
                            <a:sysClr val="windowText" lastClr="000000"/>
                          </a:solidFill>
                          <a:ea typeface="等线" panose="02010600030101010101" pitchFamily="2" charset="-122"/>
                        </a:rPr>
                        <a:t>Total Unaided </a:t>
                      </a:r>
                    </a:p>
                    <a:p>
                      <a:pPr algn="ctr" defTabSz="914261" fontAlgn="auto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en-US" altLang="zh-CN" sz="1600" b="1" kern="0" dirty="0">
                          <a:solidFill>
                            <a:sysClr val="windowText" lastClr="000000"/>
                          </a:solidFill>
                          <a:ea typeface="等线" panose="02010600030101010101" pitchFamily="2" charset="-122"/>
                        </a:rPr>
                        <a:t>Awareness</a:t>
                      </a:r>
                      <a:endParaRPr lang="en-US" altLang="zh-CN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</a:endParaRPr>
                    </a:p>
                  </a:txBody>
                  <a:tcPr marL="9523" marR="9523" marT="9523" marB="0" anchor="ctr" anchorCtr="1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24%</a:t>
                      </a:r>
                    </a:p>
                  </a:txBody>
                  <a:tcPr marL="9523" marR="9523" marT="952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7%</a:t>
                      </a:r>
                    </a:p>
                  </a:txBody>
                  <a:tcPr marL="9523" marR="9523" marT="952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2%</a:t>
                      </a:r>
                    </a:p>
                  </a:txBody>
                  <a:tcPr marL="9523" marR="9523" marT="952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7%</a:t>
                      </a:r>
                    </a:p>
                  </a:txBody>
                  <a:tcPr marL="9523" marR="9523" marT="952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25%</a:t>
                      </a:r>
                    </a:p>
                  </a:txBody>
                  <a:tcPr marL="9523" marR="9523" marT="952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9162670"/>
                  </a:ext>
                </a:extLst>
              </a:tr>
            </a:tbl>
          </a:graphicData>
        </a:graphic>
      </p:graphicFrame>
      <p:sp>
        <p:nvSpPr>
          <p:cNvPr id="190" name="Oval 21">
            <a:extLst>
              <a:ext uri="{FF2B5EF4-FFF2-40B4-BE49-F238E27FC236}">
                <a16:creationId xmlns:a16="http://schemas.microsoft.com/office/drawing/2014/main" id="{536D74A3-357C-40A7-95A5-BB3B22755CAC}"/>
              </a:ext>
            </a:extLst>
          </p:cNvPr>
          <p:cNvSpPr/>
          <p:nvPr/>
        </p:nvSpPr>
        <p:spPr>
          <a:xfrm>
            <a:off x="5774859" y="3268876"/>
            <a:ext cx="435886" cy="323916"/>
          </a:xfrm>
          <a:prstGeom prst="ellipse">
            <a:avLst/>
          </a:prstGeom>
          <a:solidFill>
            <a:srgbClr val="281051"/>
          </a:solidFill>
          <a:ln w="25400" cap="flat" cmpd="sng" algn="ctr">
            <a:solidFill>
              <a:srgbClr val="FFFFFF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defTabSz="1107201">
              <a:defRPr/>
            </a:pPr>
            <a:endParaRPr lang="en-GB" sz="1454" b="1" kern="0" dirty="0">
              <a:solidFill>
                <a:srgbClr val="FFFFFF"/>
              </a:solidFill>
              <a:ea typeface="黑体"/>
            </a:endParaRPr>
          </a:p>
        </p:txBody>
      </p:sp>
      <p:grpSp>
        <p:nvGrpSpPr>
          <p:cNvPr id="9" name="组合 8"/>
          <p:cNvGrpSpPr/>
          <p:nvPr/>
        </p:nvGrpSpPr>
        <p:grpSpPr>
          <a:xfrm>
            <a:off x="7130443" y="6518165"/>
            <a:ext cx="3172357" cy="246189"/>
            <a:chOff x="7131372" y="6518567"/>
            <a:chExt cx="3172770" cy="246221"/>
          </a:xfrm>
        </p:grpSpPr>
        <p:sp>
          <p:nvSpPr>
            <p:cNvPr id="160" name="TextBox 134">
              <a:extLst>
                <a:ext uri="{FF2B5EF4-FFF2-40B4-BE49-F238E27FC236}">
                  <a16:creationId xmlns:a16="http://schemas.microsoft.com/office/drawing/2014/main" id="{610BDB23-3119-4E67-A0B4-C5B814B41DD5}"/>
                </a:ext>
              </a:extLst>
            </p:cNvPr>
            <p:cNvSpPr txBox="1"/>
            <p:nvPr/>
          </p:nvSpPr>
          <p:spPr>
            <a:xfrm>
              <a:off x="7331891" y="6518567"/>
              <a:ext cx="2972251" cy="246221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rtlCol="0" anchor="ctr">
              <a:spAutoFit/>
            </a:bodyPr>
            <a:lstStyle/>
            <a:p>
              <a:pPr defTabSz="1107259">
                <a:lnSpc>
                  <a:spcPts val="1200"/>
                </a:lnSpc>
                <a:defRPr/>
              </a:pPr>
              <a:r>
                <a:rPr lang="nl-BE" altLang="zh-CN" sz="1050" b="1" kern="0" dirty="0">
                  <a:ea typeface="黑体"/>
                </a:rPr>
                <a:t>Sig. </a:t>
              </a:r>
              <a:r>
                <a:rPr lang="nl-BE" altLang="zh-CN" sz="1050" b="1" kern="0" dirty="0">
                  <a:solidFill>
                    <a:srgbClr val="00B050"/>
                  </a:solidFill>
                  <a:ea typeface="黑体"/>
                </a:rPr>
                <a:t>HIGH </a:t>
              </a:r>
              <a:r>
                <a:rPr lang="nl-BE" altLang="zh-CN" sz="1050" b="1" kern="0" dirty="0">
                  <a:ea typeface="黑体"/>
                </a:rPr>
                <a:t>/ </a:t>
              </a:r>
              <a:r>
                <a:rPr lang="nl-BE" altLang="zh-CN" sz="1050" b="1" kern="0" dirty="0">
                  <a:solidFill>
                    <a:srgbClr val="FF0000"/>
                  </a:solidFill>
                  <a:ea typeface="黑体"/>
                </a:rPr>
                <a:t>LOW</a:t>
              </a:r>
              <a:r>
                <a:rPr lang="nl-BE" altLang="zh-CN" sz="1050" b="1" kern="0" dirty="0">
                  <a:ea typeface="黑体"/>
                </a:rPr>
                <a:t> vs. last wave @ 90% C.L.</a:t>
              </a:r>
              <a:endParaRPr lang="en-GB" sz="1050" b="1" kern="0" dirty="0">
                <a:ea typeface="黑体"/>
              </a:endParaRPr>
            </a:p>
          </p:txBody>
        </p:sp>
        <p:cxnSp>
          <p:nvCxnSpPr>
            <p:cNvPr id="8" name="直接箭头连接符 7"/>
            <p:cNvCxnSpPr/>
            <p:nvPr/>
          </p:nvCxnSpPr>
          <p:spPr>
            <a:xfrm flipV="1">
              <a:off x="7131372" y="6547135"/>
              <a:ext cx="0" cy="196657"/>
            </a:xfrm>
            <a:prstGeom prst="straightConnector1">
              <a:avLst/>
            </a:prstGeom>
            <a:noFill/>
            <a:ln w="12700">
              <a:solidFill>
                <a:srgbClr val="00B050"/>
              </a:solidFill>
              <a:round/>
              <a:headEnd/>
              <a:tailEnd type="triangle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9" name="直接箭头连接符 168"/>
            <p:cNvCxnSpPr/>
            <p:nvPr/>
          </p:nvCxnSpPr>
          <p:spPr>
            <a:xfrm>
              <a:off x="7277146" y="6547135"/>
              <a:ext cx="0" cy="196657"/>
            </a:xfrm>
            <a:prstGeom prst="straightConnector1">
              <a:avLst/>
            </a:prstGeom>
            <a:noFill/>
            <a:ln w="12700">
              <a:solidFill>
                <a:srgbClr val="FF0000"/>
              </a:solidFill>
              <a:round/>
              <a:headEnd/>
              <a:tailEnd type="triangle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cxnSp>
        <p:nvCxnSpPr>
          <p:cNvPr id="191" name="直接箭头连接符 190"/>
          <p:cNvCxnSpPr/>
          <p:nvPr/>
        </p:nvCxnSpPr>
        <p:spPr>
          <a:xfrm>
            <a:off x="4964158" y="1731390"/>
            <a:ext cx="0" cy="251967"/>
          </a:xfrm>
          <a:prstGeom prst="straightConnector1">
            <a:avLst/>
          </a:prstGeom>
          <a:noFill/>
          <a:ln w="19050">
            <a:solidFill>
              <a:srgbClr val="FF0000"/>
            </a:solidFill>
            <a:round/>
            <a:headEnd/>
            <a:tailEnd type="triangle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92" name="直接箭头连接符 191"/>
          <p:cNvCxnSpPr/>
          <p:nvPr/>
        </p:nvCxnSpPr>
        <p:spPr>
          <a:xfrm flipV="1">
            <a:off x="6800108" y="1711514"/>
            <a:ext cx="0" cy="251967"/>
          </a:xfrm>
          <a:prstGeom prst="straightConnector1">
            <a:avLst/>
          </a:prstGeom>
          <a:noFill/>
          <a:ln w="19050">
            <a:solidFill>
              <a:srgbClr val="00B050"/>
            </a:solidFill>
            <a:round/>
            <a:headEnd/>
            <a:tailEnd type="triangle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93" name="直接箭头连接符 192"/>
          <p:cNvCxnSpPr/>
          <p:nvPr/>
        </p:nvCxnSpPr>
        <p:spPr>
          <a:xfrm flipV="1">
            <a:off x="6807496" y="2208405"/>
            <a:ext cx="0" cy="251967"/>
          </a:xfrm>
          <a:prstGeom prst="straightConnector1">
            <a:avLst/>
          </a:prstGeom>
          <a:noFill/>
          <a:ln w="19050">
            <a:solidFill>
              <a:srgbClr val="00B050"/>
            </a:solidFill>
            <a:round/>
            <a:headEnd/>
            <a:tailEnd type="triangle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aphicFrame>
        <p:nvGraphicFramePr>
          <p:cNvPr id="182" name="表格 18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3223864"/>
              </p:ext>
            </p:extLst>
          </p:nvPr>
        </p:nvGraphicFramePr>
        <p:xfrm>
          <a:off x="4245769" y="2763460"/>
          <a:ext cx="4631839" cy="3087208"/>
        </p:xfrm>
        <a:graphic>
          <a:graphicData uri="http://schemas.openxmlformats.org/drawingml/2006/table">
            <a:tbl>
              <a:tblPr/>
              <a:tblGrid>
                <a:gridCol w="8998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3587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3202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32026">
                  <a:extLst>
                    <a:ext uri="{9D8B030D-6E8A-4147-A177-3AD203B41FA5}">
                      <a16:colId xmlns:a16="http://schemas.microsoft.com/office/drawing/2014/main" val="2218129654"/>
                    </a:ext>
                  </a:extLst>
                </a:gridCol>
                <a:gridCol w="93202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506779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71%</a:t>
                      </a:r>
                    </a:p>
                  </a:txBody>
                  <a:tcPr marL="9524" marR="9524" marT="952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77%</a:t>
                      </a:r>
                    </a:p>
                  </a:txBody>
                  <a:tcPr marL="9524" marR="9524" marT="952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77%</a:t>
                      </a:r>
                    </a:p>
                  </a:txBody>
                  <a:tcPr marL="9524" marR="9524" marT="952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62%</a:t>
                      </a:r>
                    </a:p>
                  </a:txBody>
                  <a:tcPr marL="9524" marR="9524" marT="952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59%</a:t>
                      </a:r>
                    </a:p>
                  </a:txBody>
                  <a:tcPr marL="9524" marR="9524" marT="952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1986">
                <a:tc>
                  <a:txBody>
                    <a:bodyPr/>
                    <a:lstStyle/>
                    <a:p>
                      <a:pPr algn="r" fontAlgn="t"/>
                      <a:r>
                        <a:rPr lang="en-US" altLang="zh-CN" sz="1200" b="1" i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0.79</a:t>
                      </a:r>
                    </a:p>
                  </a:txBody>
                  <a:tcPr marL="9524" marR="9524" marT="952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altLang="zh-CN" sz="1200" b="1" i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0.81</a:t>
                      </a:r>
                    </a:p>
                  </a:txBody>
                  <a:tcPr marL="9524" marR="9524" marT="952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altLang="zh-CN" sz="1200" b="1" i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0.82</a:t>
                      </a:r>
                    </a:p>
                  </a:txBody>
                  <a:tcPr marL="9524" marR="9524" marT="952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altLang="zh-CN" sz="1200" b="1" i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0.89</a:t>
                      </a:r>
                    </a:p>
                  </a:txBody>
                  <a:tcPr marL="9524" marR="9524" marT="952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altLang="zh-CN" sz="1200" b="1" i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0.80</a:t>
                      </a:r>
                    </a:p>
                  </a:txBody>
                  <a:tcPr marL="9524" marR="9524" marT="952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42978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56%</a:t>
                      </a:r>
                    </a:p>
                  </a:txBody>
                  <a:tcPr marL="9524" marR="9524" marT="952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62%</a:t>
                      </a:r>
                    </a:p>
                  </a:txBody>
                  <a:tcPr marL="9524" marR="9524" marT="952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63%</a:t>
                      </a:r>
                    </a:p>
                  </a:txBody>
                  <a:tcPr marL="9524" marR="9524" marT="952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55%</a:t>
                      </a:r>
                    </a:p>
                  </a:txBody>
                  <a:tcPr marL="9524" marR="9524" marT="952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47%</a:t>
                      </a:r>
                    </a:p>
                  </a:txBody>
                  <a:tcPr marL="9524" marR="9524" marT="952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34381">
                <a:tc>
                  <a:txBody>
                    <a:bodyPr/>
                    <a:lstStyle/>
                    <a:p>
                      <a:pPr algn="r" fontAlgn="t"/>
                      <a:r>
                        <a:rPr lang="en-US" altLang="zh-CN" sz="1200" b="1" i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0.79</a:t>
                      </a:r>
                    </a:p>
                  </a:txBody>
                  <a:tcPr marL="9524" marR="9524" marT="952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altLang="zh-CN" sz="1200" b="1" i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0.72</a:t>
                      </a:r>
                    </a:p>
                  </a:txBody>
                  <a:tcPr marL="9524" marR="9524" marT="952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altLang="zh-CN" sz="1200" b="1" i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0.68</a:t>
                      </a:r>
                    </a:p>
                  </a:txBody>
                  <a:tcPr marL="9524" marR="9524" marT="952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altLang="zh-CN" sz="1200" b="1" i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0.77</a:t>
                      </a:r>
                    </a:p>
                  </a:txBody>
                  <a:tcPr marL="9524" marR="9524" marT="952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altLang="zh-CN" sz="1200" b="1" i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0.83</a:t>
                      </a:r>
                    </a:p>
                  </a:txBody>
                  <a:tcPr marL="9524" marR="9524" marT="952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98184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44%</a:t>
                      </a:r>
                    </a:p>
                  </a:txBody>
                  <a:tcPr marL="9524" marR="9524" marT="952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44%</a:t>
                      </a:r>
                    </a:p>
                  </a:txBody>
                  <a:tcPr marL="9524" marR="9524" marT="952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43%</a:t>
                      </a:r>
                    </a:p>
                  </a:txBody>
                  <a:tcPr marL="9524" marR="9524" marT="952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42%</a:t>
                      </a:r>
                    </a:p>
                  </a:txBody>
                  <a:tcPr marL="9524" marR="9524" marT="952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39%</a:t>
                      </a:r>
                    </a:p>
                  </a:txBody>
                  <a:tcPr marL="9524" marR="9524" marT="952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34381">
                <a:tc>
                  <a:txBody>
                    <a:bodyPr/>
                    <a:lstStyle/>
                    <a:p>
                      <a:pPr algn="r" fontAlgn="t"/>
                      <a:r>
                        <a:rPr lang="en-US" altLang="zh-CN" sz="1200" b="1" i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0.19</a:t>
                      </a:r>
                    </a:p>
                  </a:txBody>
                  <a:tcPr marL="9524" marR="9524" marT="952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altLang="zh-CN" sz="1200" b="1" i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0.05</a:t>
                      </a:r>
                    </a:p>
                  </a:txBody>
                  <a:tcPr marL="9524" marR="9524" marT="952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altLang="zh-CN" sz="1200" b="1" i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0.02</a:t>
                      </a:r>
                    </a:p>
                  </a:txBody>
                  <a:tcPr marL="9524" marR="9524" marT="952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altLang="zh-CN" sz="1200" b="1" i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0.14</a:t>
                      </a:r>
                    </a:p>
                  </a:txBody>
                  <a:tcPr marL="9524" marR="9524" marT="952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altLang="zh-CN" sz="1200" b="1" i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0.15</a:t>
                      </a:r>
                    </a:p>
                  </a:txBody>
                  <a:tcPr marL="9524" marR="9524" marT="952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08519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9%</a:t>
                      </a:r>
                    </a:p>
                  </a:txBody>
                  <a:tcPr marL="9524" marR="9524" marT="952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2%</a:t>
                      </a:r>
                    </a:p>
                  </a:txBody>
                  <a:tcPr marL="9524" marR="9524" marT="952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1%</a:t>
                      </a:r>
                    </a:p>
                  </a:txBody>
                  <a:tcPr marL="9524" marR="9524" marT="952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6%</a:t>
                      </a:r>
                    </a:p>
                  </a:txBody>
                  <a:tcPr marL="9524" marR="9524" marT="952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</a:rPr>
                        <a:t>6%</a:t>
                      </a:r>
                    </a:p>
                  </a:txBody>
                  <a:tcPr marL="9524" marR="9524" marT="952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9115900"/>
                  </a:ext>
                </a:extLst>
              </a:tr>
            </a:tbl>
          </a:graphicData>
        </a:graphic>
      </p:graphicFrame>
      <p:sp>
        <p:nvSpPr>
          <p:cNvPr id="158" name="矩形 157"/>
          <p:cNvSpPr/>
          <p:nvPr/>
        </p:nvSpPr>
        <p:spPr>
          <a:xfrm>
            <a:off x="101972" y="223904"/>
            <a:ext cx="968831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09" eaLnBrk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3200" kern="0" dirty="0">
                <a:solidFill>
                  <a:prstClr val="black"/>
                </a:solidFill>
                <a:ea typeface="等线" panose="02010600030101010101" pitchFamily="2" charset="-122"/>
                <a:cs typeface="Calibri" panose="020F0502020204030204" pitchFamily="34" charset="0"/>
              </a:rPr>
              <a:t>Brand Funnel KPI by city</a:t>
            </a:r>
          </a:p>
        </p:txBody>
      </p:sp>
    </p:spTree>
    <p:extLst>
      <p:ext uri="{BB962C8B-B14F-4D97-AF65-F5344CB8AC3E}">
        <p14:creationId xmlns:p14="http://schemas.microsoft.com/office/powerpoint/2010/main" val="32182034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1A9DA9ED-97F7-42DC-8A0F-784695FBE3C2}"/>
              </a:ext>
            </a:extLst>
          </p:cNvPr>
          <p:cNvSpPr/>
          <p:nvPr/>
        </p:nvSpPr>
        <p:spPr>
          <a:xfrm>
            <a:off x="298562" y="296652"/>
            <a:ext cx="968831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09" eaLnBrk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3200" kern="0" dirty="0">
                <a:solidFill>
                  <a:prstClr val="black"/>
                </a:solidFill>
                <a:ea typeface="等线" panose="02010600030101010101" pitchFamily="2" charset="-122"/>
                <a:cs typeface="Calibri" panose="020F0502020204030204" pitchFamily="34" charset="0"/>
              </a:rPr>
              <a:t>Data availability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E91AA778-516E-43C0-A2B7-EE04F61EE881}"/>
              </a:ext>
            </a:extLst>
          </p:cNvPr>
          <p:cNvSpPr txBox="1"/>
          <p:nvPr/>
        </p:nvSpPr>
        <p:spPr>
          <a:xfrm>
            <a:off x="370570" y="1772816"/>
            <a:ext cx="11305256" cy="23267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47663" indent="-342900">
              <a:buFont typeface="Arial" panose="020B0604020202020204" pitchFamily="34" charset="0"/>
              <a:buChar char="•"/>
            </a:pPr>
            <a:r>
              <a:rPr lang="en-US" altLang="zh-CN" sz="2400" dirty="0"/>
              <a:t>Brand: Vitasoy, Vita Tea</a:t>
            </a:r>
          </a:p>
          <a:p>
            <a:pPr marL="347663" indent="-342900">
              <a:buFont typeface="Arial" panose="020B0604020202020204" pitchFamily="34" charset="0"/>
              <a:buChar char="•"/>
            </a:pPr>
            <a:endParaRPr lang="en-US" altLang="zh-CN" sz="2400" dirty="0"/>
          </a:p>
          <a:p>
            <a:pPr marL="347663" indent="-342900">
              <a:buFont typeface="Arial" panose="020B0604020202020204" pitchFamily="34" charset="0"/>
              <a:buChar char="•"/>
            </a:pPr>
            <a:r>
              <a:rPr lang="en-US" altLang="zh-CN" sz="2400" dirty="0"/>
              <a:t>City: Guangzhou, Wuhan, Shanghai, Beijing(since 2017W2)</a:t>
            </a:r>
          </a:p>
          <a:p>
            <a:pPr marL="347663" indent="-342900">
              <a:buFont typeface="Arial" panose="020B0604020202020204" pitchFamily="34" charset="0"/>
              <a:buChar char="•"/>
            </a:pPr>
            <a:endParaRPr lang="en-US" altLang="zh-CN" sz="2400" dirty="0"/>
          </a:p>
          <a:p>
            <a:pPr marL="347663" indent="-342900">
              <a:buFont typeface="Arial" panose="020B0604020202020204" pitchFamily="34" charset="0"/>
              <a:buChar char="•"/>
            </a:pPr>
            <a:r>
              <a:rPr lang="en-US" altLang="zh-CN" sz="2400" dirty="0"/>
              <a:t>Data Period: Around quarterly, starting from 2017(BJ data starts from 2017 W2)</a:t>
            </a:r>
          </a:p>
          <a:p>
            <a:pPr marL="347663" indent="-342900">
              <a:buFont typeface="Arial" panose="020B0604020202020204" pitchFamily="34" charset="0"/>
              <a:buChar char="•"/>
            </a:pPr>
            <a:endParaRPr lang="en-US" altLang="zh-CN" sz="2400" dirty="0"/>
          </a:p>
          <a:p>
            <a:pPr marL="347663" indent="-342900">
              <a:buFont typeface="Arial" panose="020B0604020202020204" pitchFamily="34" charset="0"/>
              <a:buChar char="•"/>
            </a:pPr>
            <a:r>
              <a:rPr lang="en-US" altLang="zh-CN" sz="2400" dirty="0"/>
              <a:t>Data source</a:t>
            </a:r>
            <a:r>
              <a:rPr lang="en-US" altLang="zh-CN" sz="2400"/>
              <a:t>: Ipsos</a:t>
            </a:r>
            <a:endParaRPr lang="en-US" altLang="zh-CN" sz="2400" dirty="0"/>
          </a:p>
        </p:txBody>
      </p:sp>
    </p:spTree>
    <p:extLst>
      <p:ext uri="{BB962C8B-B14F-4D97-AF65-F5344CB8AC3E}">
        <p14:creationId xmlns:p14="http://schemas.microsoft.com/office/powerpoint/2010/main" val="39448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SKA_CLIENTLIBRARY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ZNS6da_ket0LI.1XB7Qg"/>
</p:tagLst>
</file>

<file path=ppt/theme/theme1.xml><?xml version="1.0" encoding="utf-8"?>
<a:theme xmlns:a="http://schemas.openxmlformats.org/drawingml/2006/main" name="2_Ipsos 2012">
  <a:themeElements>
    <a:clrScheme name="Custom 2">
      <a:dk1>
        <a:srgbClr val="1F497D"/>
      </a:dk1>
      <a:lt1>
        <a:srgbClr val="FFFFFF"/>
      </a:lt1>
      <a:dk2>
        <a:srgbClr val="BCBEC0"/>
      </a:dk2>
      <a:lt2>
        <a:srgbClr val="58595B"/>
      </a:lt2>
      <a:accent1>
        <a:srgbClr val="008E94"/>
      </a:accent1>
      <a:accent2>
        <a:srgbClr val="FBB040"/>
      </a:accent2>
      <a:accent3>
        <a:srgbClr val="FFFFFF"/>
      </a:accent3>
      <a:accent4>
        <a:srgbClr val="193D6A"/>
      </a:accent4>
      <a:accent5>
        <a:srgbClr val="AAC6C8"/>
      </a:accent5>
      <a:accent6>
        <a:srgbClr val="E39F39"/>
      </a:accent6>
      <a:hlink>
        <a:srgbClr val="FFFFFF"/>
      </a:hlink>
      <a:folHlink>
        <a:srgbClr val="A8CCDD"/>
      </a:folHlink>
    </a:clrScheme>
    <a:fontScheme name="Ipsos 201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>
            <a:lumMod val="40000"/>
            <a:lumOff val="60000"/>
          </a:schemeClr>
        </a:solidFill>
        <a:ln>
          <a:noFill/>
        </a:ln>
        <a:effectLst/>
        <a:extLst/>
      </a:spPr>
      <a:bodyPr vert="horz" wrap="none" lIns="0" tIns="0" rIns="0" bIns="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</a:defRPr>
        </a:defPPr>
      </a:lstStyle>
    </a:lnDef>
  </a:objectDefaults>
  <a:extraClrSchemeLst>
    <a:extraClrScheme>
      <a:clrScheme name="Ipsos 201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psos 2012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psos 2012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psos 2012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psos 2012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psos 2012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psos 2012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psos 2012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psos 2012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psos 2012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psos 2012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psos 2012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psos 2012 13">
        <a:dk1>
          <a:srgbClr val="1F497D"/>
        </a:dk1>
        <a:lt1>
          <a:srgbClr val="FFFFFF"/>
        </a:lt1>
        <a:dk2>
          <a:srgbClr val="BCBEC0"/>
        </a:dk2>
        <a:lt2>
          <a:srgbClr val="58595B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193D6A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psos 2012 14">
        <a:dk1>
          <a:srgbClr val="1F497D"/>
        </a:dk1>
        <a:lt1>
          <a:srgbClr val="FFFFFF"/>
        </a:lt1>
        <a:dk2>
          <a:srgbClr val="BCBEC0"/>
        </a:dk2>
        <a:lt2>
          <a:srgbClr val="58595B"/>
        </a:lt2>
        <a:accent1>
          <a:srgbClr val="008E94"/>
        </a:accent1>
        <a:accent2>
          <a:srgbClr val="333399"/>
        </a:accent2>
        <a:accent3>
          <a:srgbClr val="FFFFFF"/>
        </a:accent3>
        <a:accent4>
          <a:srgbClr val="193D6A"/>
        </a:accent4>
        <a:accent5>
          <a:srgbClr val="AAC6C8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psos 2012 15">
        <a:dk1>
          <a:srgbClr val="1F497D"/>
        </a:dk1>
        <a:lt1>
          <a:srgbClr val="FFFFFF"/>
        </a:lt1>
        <a:dk2>
          <a:srgbClr val="BCBEC0"/>
        </a:dk2>
        <a:lt2>
          <a:srgbClr val="58595B"/>
        </a:lt2>
        <a:accent1>
          <a:srgbClr val="008E94"/>
        </a:accent1>
        <a:accent2>
          <a:srgbClr val="FBB040"/>
        </a:accent2>
        <a:accent3>
          <a:srgbClr val="FFFFFF"/>
        </a:accent3>
        <a:accent4>
          <a:srgbClr val="193D6A"/>
        </a:accent4>
        <a:accent5>
          <a:srgbClr val="AAC6C8"/>
        </a:accent5>
        <a:accent6>
          <a:srgbClr val="E39F39"/>
        </a:accent6>
        <a:hlink>
          <a:srgbClr val="ED6737"/>
        </a:hlink>
        <a:folHlink>
          <a:srgbClr val="A8CC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3_Ipsos 2012">
  <a:themeElements>
    <a:clrScheme name="Custom 2">
      <a:dk1>
        <a:srgbClr val="1F497D"/>
      </a:dk1>
      <a:lt1>
        <a:srgbClr val="FFFFFF"/>
      </a:lt1>
      <a:dk2>
        <a:srgbClr val="BCBEC0"/>
      </a:dk2>
      <a:lt2>
        <a:srgbClr val="58595B"/>
      </a:lt2>
      <a:accent1>
        <a:srgbClr val="008E94"/>
      </a:accent1>
      <a:accent2>
        <a:srgbClr val="FBB040"/>
      </a:accent2>
      <a:accent3>
        <a:srgbClr val="FFFFFF"/>
      </a:accent3>
      <a:accent4>
        <a:srgbClr val="193D6A"/>
      </a:accent4>
      <a:accent5>
        <a:srgbClr val="AAC6C8"/>
      </a:accent5>
      <a:accent6>
        <a:srgbClr val="E39F39"/>
      </a:accent6>
      <a:hlink>
        <a:srgbClr val="FFFFFF"/>
      </a:hlink>
      <a:folHlink>
        <a:srgbClr val="A8CCDD"/>
      </a:folHlink>
    </a:clrScheme>
    <a:fontScheme name="Ipsos 201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>
            <a:lumMod val="40000"/>
            <a:lumOff val="60000"/>
          </a:schemeClr>
        </a:solidFill>
        <a:ln>
          <a:noFill/>
        </a:ln>
        <a:effectLst/>
        <a:extLst/>
      </a:spPr>
      <a:bodyPr vert="horz" wrap="none" lIns="0" tIns="0" rIns="0" bIns="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</a:defRPr>
        </a:defPPr>
      </a:lstStyle>
    </a:lnDef>
  </a:objectDefaults>
  <a:extraClrSchemeLst>
    <a:extraClrScheme>
      <a:clrScheme name="Ipsos 201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psos 2012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psos 2012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psos 2012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psos 2012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psos 2012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psos 2012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psos 2012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psos 2012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psos 2012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psos 2012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psos 2012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psos 2012 13">
        <a:dk1>
          <a:srgbClr val="1F497D"/>
        </a:dk1>
        <a:lt1>
          <a:srgbClr val="FFFFFF"/>
        </a:lt1>
        <a:dk2>
          <a:srgbClr val="BCBEC0"/>
        </a:dk2>
        <a:lt2>
          <a:srgbClr val="58595B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193D6A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psos 2012 14">
        <a:dk1>
          <a:srgbClr val="1F497D"/>
        </a:dk1>
        <a:lt1>
          <a:srgbClr val="FFFFFF"/>
        </a:lt1>
        <a:dk2>
          <a:srgbClr val="BCBEC0"/>
        </a:dk2>
        <a:lt2>
          <a:srgbClr val="58595B"/>
        </a:lt2>
        <a:accent1>
          <a:srgbClr val="008E94"/>
        </a:accent1>
        <a:accent2>
          <a:srgbClr val="333399"/>
        </a:accent2>
        <a:accent3>
          <a:srgbClr val="FFFFFF"/>
        </a:accent3>
        <a:accent4>
          <a:srgbClr val="193D6A"/>
        </a:accent4>
        <a:accent5>
          <a:srgbClr val="AAC6C8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psos 2012 15">
        <a:dk1>
          <a:srgbClr val="1F497D"/>
        </a:dk1>
        <a:lt1>
          <a:srgbClr val="FFFFFF"/>
        </a:lt1>
        <a:dk2>
          <a:srgbClr val="BCBEC0"/>
        </a:dk2>
        <a:lt2>
          <a:srgbClr val="58595B"/>
        </a:lt2>
        <a:accent1>
          <a:srgbClr val="008E94"/>
        </a:accent1>
        <a:accent2>
          <a:srgbClr val="FBB040"/>
        </a:accent2>
        <a:accent3>
          <a:srgbClr val="FFFFFF"/>
        </a:accent3>
        <a:accent4>
          <a:srgbClr val="193D6A"/>
        </a:accent4>
        <a:accent5>
          <a:srgbClr val="AAC6C8"/>
        </a:accent5>
        <a:accent6>
          <a:srgbClr val="E39F39"/>
        </a:accent6>
        <a:hlink>
          <a:srgbClr val="ED6737"/>
        </a:hlink>
        <a:folHlink>
          <a:srgbClr val="A8CC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4_Ipsos 2012">
  <a:themeElements>
    <a:clrScheme name="Custom 2">
      <a:dk1>
        <a:srgbClr val="1F497D"/>
      </a:dk1>
      <a:lt1>
        <a:srgbClr val="FFFFFF"/>
      </a:lt1>
      <a:dk2>
        <a:srgbClr val="BCBEC0"/>
      </a:dk2>
      <a:lt2>
        <a:srgbClr val="58595B"/>
      </a:lt2>
      <a:accent1>
        <a:srgbClr val="008E94"/>
      </a:accent1>
      <a:accent2>
        <a:srgbClr val="FBB040"/>
      </a:accent2>
      <a:accent3>
        <a:srgbClr val="FFFFFF"/>
      </a:accent3>
      <a:accent4>
        <a:srgbClr val="193D6A"/>
      </a:accent4>
      <a:accent5>
        <a:srgbClr val="AAC6C8"/>
      </a:accent5>
      <a:accent6>
        <a:srgbClr val="E39F39"/>
      </a:accent6>
      <a:hlink>
        <a:srgbClr val="FFFFFF"/>
      </a:hlink>
      <a:folHlink>
        <a:srgbClr val="A8CCDD"/>
      </a:folHlink>
    </a:clrScheme>
    <a:fontScheme name="Ipsos 201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>
            <a:lumMod val="40000"/>
            <a:lumOff val="60000"/>
          </a:schemeClr>
        </a:solidFill>
        <a:ln>
          <a:noFill/>
        </a:ln>
        <a:effectLst/>
        <a:extLst/>
      </a:spPr>
      <a:bodyPr vert="horz" wrap="none" lIns="0" tIns="0" rIns="0" bIns="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</a:defRPr>
        </a:defPPr>
      </a:lstStyle>
    </a:lnDef>
  </a:objectDefaults>
  <a:extraClrSchemeLst>
    <a:extraClrScheme>
      <a:clrScheme name="Ipsos 201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psos 2012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psos 2012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psos 2012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psos 2012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psos 2012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psos 2012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psos 2012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psos 2012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psos 2012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psos 2012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psos 2012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psos 2012 13">
        <a:dk1>
          <a:srgbClr val="1F497D"/>
        </a:dk1>
        <a:lt1>
          <a:srgbClr val="FFFFFF"/>
        </a:lt1>
        <a:dk2>
          <a:srgbClr val="BCBEC0"/>
        </a:dk2>
        <a:lt2>
          <a:srgbClr val="58595B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193D6A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psos 2012 14">
        <a:dk1>
          <a:srgbClr val="1F497D"/>
        </a:dk1>
        <a:lt1>
          <a:srgbClr val="FFFFFF"/>
        </a:lt1>
        <a:dk2>
          <a:srgbClr val="BCBEC0"/>
        </a:dk2>
        <a:lt2>
          <a:srgbClr val="58595B"/>
        </a:lt2>
        <a:accent1>
          <a:srgbClr val="008E94"/>
        </a:accent1>
        <a:accent2>
          <a:srgbClr val="333399"/>
        </a:accent2>
        <a:accent3>
          <a:srgbClr val="FFFFFF"/>
        </a:accent3>
        <a:accent4>
          <a:srgbClr val="193D6A"/>
        </a:accent4>
        <a:accent5>
          <a:srgbClr val="AAC6C8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psos 2012 15">
        <a:dk1>
          <a:srgbClr val="1F497D"/>
        </a:dk1>
        <a:lt1>
          <a:srgbClr val="FFFFFF"/>
        </a:lt1>
        <a:dk2>
          <a:srgbClr val="BCBEC0"/>
        </a:dk2>
        <a:lt2>
          <a:srgbClr val="58595B"/>
        </a:lt2>
        <a:accent1>
          <a:srgbClr val="008E94"/>
        </a:accent1>
        <a:accent2>
          <a:srgbClr val="FBB040"/>
        </a:accent2>
        <a:accent3>
          <a:srgbClr val="FFFFFF"/>
        </a:accent3>
        <a:accent4>
          <a:srgbClr val="193D6A"/>
        </a:accent4>
        <a:accent5>
          <a:srgbClr val="AAC6C8"/>
        </a:accent5>
        <a:accent6>
          <a:srgbClr val="E39F39"/>
        </a:accent6>
        <a:hlink>
          <a:srgbClr val="ED6737"/>
        </a:hlink>
        <a:folHlink>
          <a:srgbClr val="A8CC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5_Ipsos 2012">
  <a:themeElements>
    <a:clrScheme name="Custom 2">
      <a:dk1>
        <a:srgbClr val="1F497D"/>
      </a:dk1>
      <a:lt1>
        <a:srgbClr val="FFFFFF"/>
      </a:lt1>
      <a:dk2>
        <a:srgbClr val="BCBEC0"/>
      </a:dk2>
      <a:lt2>
        <a:srgbClr val="58595B"/>
      </a:lt2>
      <a:accent1>
        <a:srgbClr val="008E94"/>
      </a:accent1>
      <a:accent2>
        <a:srgbClr val="FBB040"/>
      </a:accent2>
      <a:accent3>
        <a:srgbClr val="FFFFFF"/>
      </a:accent3>
      <a:accent4>
        <a:srgbClr val="193D6A"/>
      </a:accent4>
      <a:accent5>
        <a:srgbClr val="AAC6C8"/>
      </a:accent5>
      <a:accent6>
        <a:srgbClr val="E39F39"/>
      </a:accent6>
      <a:hlink>
        <a:srgbClr val="FFFFFF"/>
      </a:hlink>
      <a:folHlink>
        <a:srgbClr val="A8CCDD"/>
      </a:folHlink>
    </a:clrScheme>
    <a:fontScheme name="Ipsos 201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>
            <a:lumMod val="40000"/>
            <a:lumOff val="60000"/>
          </a:schemeClr>
        </a:solidFill>
        <a:ln>
          <a:noFill/>
        </a:ln>
        <a:effectLst/>
        <a:extLst/>
      </a:spPr>
      <a:bodyPr vert="horz" wrap="none" lIns="0" tIns="0" rIns="0" bIns="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</a:defRPr>
        </a:defPPr>
      </a:lstStyle>
    </a:lnDef>
  </a:objectDefaults>
  <a:extraClrSchemeLst>
    <a:extraClrScheme>
      <a:clrScheme name="Ipsos 201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psos 2012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psos 2012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psos 2012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psos 2012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psos 2012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psos 2012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psos 2012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psos 2012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psos 2012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psos 2012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psos 2012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psos 2012 13">
        <a:dk1>
          <a:srgbClr val="1F497D"/>
        </a:dk1>
        <a:lt1>
          <a:srgbClr val="FFFFFF"/>
        </a:lt1>
        <a:dk2>
          <a:srgbClr val="BCBEC0"/>
        </a:dk2>
        <a:lt2>
          <a:srgbClr val="58595B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193D6A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psos 2012 14">
        <a:dk1>
          <a:srgbClr val="1F497D"/>
        </a:dk1>
        <a:lt1>
          <a:srgbClr val="FFFFFF"/>
        </a:lt1>
        <a:dk2>
          <a:srgbClr val="BCBEC0"/>
        </a:dk2>
        <a:lt2>
          <a:srgbClr val="58595B"/>
        </a:lt2>
        <a:accent1>
          <a:srgbClr val="008E94"/>
        </a:accent1>
        <a:accent2>
          <a:srgbClr val="333399"/>
        </a:accent2>
        <a:accent3>
          <a:srgbClr val="FFFFFF"/>
        </a:accent3>
        <a:accent4>
          <a:srgbClr val="193D6A"/>
        </a:accent4>
        <a:accent5>
          <a:srgbClr val="AAC6C8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psos 2012 15">
        <a:dk1>
          <a:srgbClr val="1F497D"/>
        </a:dk1>
        <a:lt1>
          <a:srgbClr val="FFFFFF"/>
        </a:lt1>
        <a:dk2>
          <a:srgbClr val="BCBEC0"/>
        </a:dk2>
        <a:lt2>
          <a:srgbClr val="58595B"/>
        </a:lt2>
        <a:accent1>
          <a:srgbClr val="008E94"/>
        </a:accent1>
        <a:accent2>
          <a:srgbClr val="FBB040"/>
        </a:accent2>
        <a:accent3>
          <a:srgbClr val="FFFFFF"/>
        </a:accent3>
        <a:accent4>
          <a:srgbClr val="193D6A"/>
        </a:accent4>
        <a:accent5>
          <a:srgbClr val="AAC6C8"/>
        </a:accent5>
        <a:accent6>
          <a:srgbClr val="E39F39"/>
        </a:accent6>
        <a:hlink>
          <a:srgbClr val="ED6737"/>
        </a:hlink>
        <a:folHlink>
          <a:srgbClr val="A8CC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Vitasoy field template (no trees)">
  <a:themeElements>
    <a:clrScheme name="Custom 1">
      <a:dk1>
        <a:srgbClr val="6D6E71"/>
      </a:dk1>
      <a:lt1>
        <a:srgbClr val="FFFFFF"/>
      </a:lt1>
      <a:dk2>
        <a:srgbClr val="D5B076"/>
      </a:dk2>
      <a:lt2>
        <a:srgbClr val="ED1C24"/>
      </a:lt2>
      <a:accent1>
        <a:srgbClr val="000000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000FF"/>
      </a:hlink>
      <a:folHlink>
        <a:srgbClr val="800080"/>
      </a:folHlink>
    </a:clrScheme>
    <a:fontScheme name="Office 经典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IpsosCURRENT">
    <a:dk1>
      <a:srgbClr val="222223"/>
    </a:dk1>
    <a:lt1>
      <a:sysClr val="window" lastClr="FFFFFF"/>
    </a:lt1>
    <a:dk2>
      <a:srgbClr val="1B365D"/>
    </a:dk2>
    <a:lt2>
      <a:srgbClr val="888B8D"/>
    </a:lt2>
    <a:accent1>
      <a:srgbClr val="E87722"/>
    </a:accent1>
    <a:accent2>
      <a:srgbClr val="F1BE48"/>
    </a:accent2>
    <a:accent3>
      <a:srgbClr val="B7BF12"/>
    </a:accent3>
    <a:accent4>
      <a:srgbClr val="C8C9C7"/>
    </a:accent4>
    <a:accent5>
      <a:srgbClr val="71B2C9"/>
    </a:accent5>
    <a:accent6>
      <a:srgbClr val="007681"/>
    </a:accent6>
    <a:hlink>
      <a:srgbClr val="485CC7"/>
    </a:hlink>
    <a:folHlink>
      <a:srgbClr val="00B2A9"/>
    </a:folHlink>
  </a:clrScheme>
  <a:fontScheme name="Ipsos MORI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psos 2012</Template>
  <TotalTime>97188</TotalTime>
  <Words>313</Words>
  <Application>Microsoft Office PowerPoint</Application>
  <PresentationFormat>自定义</PresentationFormat>
  <Paragraphs>104</Paragraphs>
  <Slides>4</Slides>
  <Notes>2</Notes>
  <HiddenSlides>0</HiddenSlides>
  <MMClips>0</MMClips>
  <ScaleCrop>false</ScaleCrop>
  <HeadingPairs>
    <vt:vector size="6" baseType="variant">
      <vt:variant>
        <vt:lpstr>已用的字体</vt:lpstr>
      </vt:variant>
      <vt:variant>
        <vt:i4>9</vt:i4>
      </vt:variant>
      <vt:variant>
        <vt:lpstr>主题</vt:lpstr>
      </vt:variant>
      <vt:variant>
        <vt:i4>5</vt:i4>
      </vt:variant>
      <vt:variant>
        <vt:lpstr>幻灯片标题</vt:lpstr>
      </vt:variant>
      <vt:variant>
        <vt:i4>4</vt:i4>
      </vt:variant>
    </vt:vector>
  </HeadingPairs>
  <TitlesOfParts>
    <vt:vector size="18" baseType="lpstr">
      <vt:lpstr>L VAG Rounded Light</vt:lpstr>
      <vt:lpstr>Lucida Grande</vt:lpstr>
      <vt:lpstr>ＭＳ Ｐゴシック</vt:lpstr>
      <vt:lpstr>等线</vt:lpstr>
      <vt:lpstr>黑体</vt:lpstr>
      <vt:lpstr>宋体</vt:lpstr>
      <vt:lpstr>Arial</vt:lpstr>
      <vt:lpstr>Calibri</vt:lpstr>
      <vt:lpstr>Wingdings</vt:lpstr>
      <vt:lpstr>2_Ipsos 2012</vt:lpstr>
      <vt:lpstr>3_Ipsos 2012</vt:lpstr>
      <vt:lpstr>4_Ipsos 2012</vt:lpstr>
      <vt:lpstr>5_Ipsos 2012</vt:lpstr>
      <vt:lpstr>Vitasoy field template (no trees)</vt:lpstr>
      <vt:lpstr>PowerPoint 演示文稿</vt:lpstr>
      <vt:lpstr>PowerPoint 演示文稿</vt:lpstr>
      <vt:lpstr>PowerPoint 演示文稿</vt:lpstr>
      <vt:lpstr>PowerPoint 演示文稿</vt:lpstr>
    </vt:vector>
  </TitlesOfParts>
  <Company>Ipso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psos Template 2012</dc:title>
  <dc:subject>Guideline</dc:subject>
  <dc:creator>Yi Zhang</dc:creator>
  <cp:lastModifiedBy>yoyoli(李靖瑶)</cp:lastModifiedBy>
  <cp:revision>4938</cp:revision>
  <cp:lastPrinted>2017-05-03T10:25:45Z</cp:lastPrinted>
  <dcterms:created xsi:type="dcterms:W3CDTF">2012-01-10T23:43:32Z</dcterms:created>
  <dcterms:modified xsi:type="dcterms:W3CDTF">2018-02-11T08:00:24Z</dcterms:modified>
  <cp:category>PowerPoint version 1997-2003</cp:category>
</cp:coreProperties>
</file>